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1"/>
  </p:notesMasterIdLst>
  <p:handoutMasterIdLst>
    <p:handoutMasterId r:id="rId12"/>
  </p:handoutMasterIdLst>
  <p:sldIdLst>
    <p:sldId id="267" r:id="rId5"/>
    <p:sldId id="276" r:id="rId6"/>
    <p:sldId id="274" r:id="rId7"/>
    <p:sldId id="298" r:id="rId8"/>
    <p:sldId id="299" r:id="rId9"/>
    <p:sldId id="290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A893CB-AC4D-4887-8CF5-63478A195533}" v="48" dt="2024-04-15T12:39:28.067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0" autoAdjust="0"/>
    <p:restoredTop sz="88853" autoAdjust="0"/>
  </p:normalViewPr>
  <p:slideViewPr>
    <p:cSldViewPr snapToGrid="0" showGuides="1">
      <p:cViewPr varScale="1">
        <p:scale>
          <a:sx n="67" d="100"/>
          <a:sy n="67" d="100"/>
        </p:scale>
        <p:origin x="528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-20268"/>
    </p:cViewPr>
  </p:sorterViewPr>
  <p:notesViewPr>
    <p:cSldViewPr snapToGrid="0" showGuides="1">
      <p:cViewPr varScale="1">
        <p:scale>
          <a:sx n="60" d="100"/>
          <a:sy n="60" d="100"/>
        </p:scale>
        <p:origin x="338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A5F747-20E0-4FC0-955C-7D1A4FAD4B1E}" type="doc">
      <dgm:prSet loTypeId="urn:microsoft.com/office/officeart/2005/8/layout/hierarchy1" loCatId="hierarchy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A48A32B-9580-42C0-8C7D-69492258029C}">
      <dgm:prSet/>
      <dgm:spPr>
        <a:ln>
          <a:solidFill>
            <a:schemeClr val="tx2"/>
          </a:solidFill>
        </a:ln>
      </dgm:spPr>
      <dgm:t>
        <a:bodyPr/>
        <a:lstStyle/>
        <a:p>
          <a:r>
            <a:rPr lang="en-GB"/>
            <a:t>Experience working in a global company ( FTSE 100).</a:t>
          </a:r>
          <a:endParaRPr lang="en-US"/>
        </a:p>
      </dgm:t>
    </dgm:pt>
    <dgm:pt modelId="{4A9614A4-2405-4C92-B06F-85EF29AA432E}" type="parTrans" cxnId="{1878085A-4840-4581-B56E-09D58EB48484}">
      <dgm:prSet/>
      <dgm:spPr/>
      <dgm:t>
        <a:bodyPr/>
        <a:lstStyle/>
        <a:p>
          <a:endParaRPr lang="en-US"/>
        </a:p>
      </dgm:t>
    </dgm:pt>
    <dgm:pt modelId="{4938C716-60F0-46B5-9991-F0E33B7CFDAB}" type="sibTrans" cxnId="{1878085A-4840-4581-B56E-09D58EB48484}">
      <dgm:prSet/>
      <dgm:spPr/>
      <dgm:t>
        <a:bodyPr/>
        <a:lstStyle/>
        <a:p>
          <a:endParaRPr lang="en-US"/>
        </a:p>
      </dgm:t>
    </dgm:pt>
    <dgm:pt modelId="{0CCC891F-1570-4F31-A721-E37EEF4844C0}">
      <dgm:prSet/>
      <dgm:spPr>
        <a:ln>
          <a:solidFill>
            <a:schemeClr val="tx2"/>
          </a:solidFill>
        </a:ln>
      </dgm:spPr>
      <dgm:t>
        <a:bodyPr/>
        <a:lstStyle/>
        <a:p>
          <a:r>
            <a:rPr lang="en-GB"/>
            <a:t>Fully qualified within my desired field.</a:t>
          </a:r>
          <a:endParaRPr lang="en-US"/>
        </a:p>
      </dgm:t>
    </dgm:pt>
    <dgm:pt modelId="{687D5C5E-5614-4B98-A00F-5136DD61ED26}" type="parTrans" cxnId="{C7702962-DA1D-44EB-9172-BBFEA9551FAE}">
      <dgm:prSet/>
      <dgm:spPr/>
      <dgm:t>
        <a:bodyPr/>
        <a:lstStyle/>
        <a:p>
          <a:endParaRPr lang="en-US"/>
        </a:p>
      </dgm:t>
    </dgm:pt>
    <dgm:pt modelId="{07CE023B-C01B-4EDD-AB21-03A4EE41439A}" type="sibTrans" cxnId="{C7702962-DA1D-44EB-9172-BBFEA9551FAE}">
      <dgm:prSet/>
      <dgm:spPr/>
      <dgm:t>
        <a:bodyPr/>
        <a:lstStyle/>
        <a:p>
          <a:endParaRPr lang="en-US"/>
        </a:p>
      </dgm:t>
    </dgm:pt>
    <dgm:pt modelId="{CE980DE5-CCAD-448F-A537-022A432ECE7E}">
      <dgm:prSet/>
      <dgm:spPr>
        <a:ln>
          <a:solidFill>
            <a:schemeClr val="tx2"/>
          </a:solidFill>
        </a:ln>
      </dgm:spPr>
      <dgm:t>
        <a:bodyPr/>
        <a:lstStyle/>
        <a:p>
          <a:r>
            <a:rPr lang="en-GB"/>
            <a:t>Wide network of Early Talent </a:t>
          </a:r>
          <a:endParaRPr lang="en-US"/>
        </a:p>
      </dgm:t>
    </dgm:pt>
    <dgm:pt modelId="{DA186B1A-7A29-4018-8DDD-E23188012F43}" type="parTrans" cxnId="{8B55B13A-01C6-4334-BA44-26E203F56C99}">
      <dgm:prSet/>
      <dgm:spPr/>
      <dgm:t>
        <a:bodyPr/>
        <a:lstStyle/>
        <a:p>
          <a:endParaRPr lang="en-US"/>
        </a:p>
      </dgm:t>
    </dgm:pt>
    <dgm:pt modelId="{AB67C7E2-C841-4108-A9BA-7A12ED4A704F}" type="sibTrans" cxnId="{8B55B13A-01C6-4334-BA44-26E203F56C99}">
      <dgm:prSet/>
      <dgm:spPr/>
      <dgm:t>
        <a:bodyPr/>
        <a:lstStyle/>
        <a:p>
          <a:endParaRPr lang="en-US"/>
        </a:p>
      </dgm:t>
    </dgm:pt>
    <dgm:pt modelId="{99FB0D4F-2EBA-4B31-A330-D9485DE141CE}">
      <dgm:prSet/>
      <dgm:spPr>
        <a:ln>
          <a:solidFill>
            <a:schemeClr val="tx2"/>
          </a:solidFill>
        </a:ln>
      </dgm:spPr>
      <dgm:t>
        <a:bodyPr/>
        <a:lstStyle/>
        <a:p>
          <a:r>
            <a:rPr lang="en-GB"/>
            <a:t>Money!!!</a:t>
          </a:r>
          <a:endParaRPr lang="en-US"/>
        </a:p>
      </dgm:t>
    </dgm:pt>
    <dgm:pt modelId="{792F275A-EEBC-4D72-9849-E8061CC026E8}" type="parTrans" cxnId="{BAE67567-0692-4B2B-82AF-3BA1C845A401}">
      <dgm:prSet/>
      <dgm:spPr/>
      <dgm:t>
        <a:bodyPr/>
        <a:lstStyle/>
        <a:p>
          <a:endParaRPr lang="en-US"/>
        </a:p>
      </dgm:t>
    </dgm:pt>
    <dgm:pt modelId="{940468D4-6C38-4B2E-B1ED-4B0D606E398D}" type="sibTrans" cxnId="{BAE67567-0692-4B2B-82AF-3BA1C845A401}">
      <dgm:prSet/>
      <dgm:spPr/>
      <dgm:t>
        <a:bodyPr/>
        <a:lstStyle/>
        <a:p>
          <a:endParaRPr lang="en-US"/>
        </a:p>
      </dgm:t>
    </dgm:pt>
    <dgm:pt modelId="{1D3CD5E4-8EB3-4251-8AFD-F229F371735E}" type="pres">
      <dgm:prSet presAssocID="{A4A5F747-20E0-4FC0-955C-7D1A4FAD4B1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AF9B49C-20D2-4261-857E-2B813962742D}" type="pres">
      <dgm:prSet presAssocID="{3A48A32B-9580-42C0-8C7D-69492258029C}" presName="hierRoot1" presStyleCnt="0"/>
      <dgm:spPr/>
    </dgm:pt>
    <dgm:pt modelId="{E8186306-C463-4D16-8D2B-646EE1C3C1DD}" type="pres">
      <dgm:prSet presAssocID="{3A48A32B-9580-42C0-8C7D-69492258029C}" presName="composite" presStyleCnt="0"/>
      <dgm:spPr/>
    </dgm:pt>
    <dgm:pt modelId="{7E006609-2B1F-4212-9830-A524EB820D7B}" type="pres">
      <dgm:prSet presAssocID="{3A48A32B-9580-42C0-8C7D-69492258029C}" presName="background" presStyleLbl="node0" presStyleIdx="0" presStyleCnt="4"/>
      <dgm:spPr>
        <a:solidFill>
          <a:schemeClr val="tx2"/>
        </a:solidFill>
      </dgm:spPr>
    </dgm:pt>
    <dgm:pt modelId="{400BED9C-E94C-404E-AC75-14E7D7D7958D}" type="pres">
      <dgm:prSet presAssocID="{3A48A32B-9580-42C0-8C7D-69492258029C}" presName="text" presStyleLbl="fgAcc0" presStyleIdx="0" presStyleCnt="4">
        <dgm:presLayoutVars>
          <dgm:chPref val="3"/>
        </dgm:presLayoutVars>
      </dgm:prSet>
      <dgm:spPr/>
    </dgm:pt>
    <dgm:pt modelId="{7F2FC51E-7BA4-4640-9C04-DF6421F5890A}" type="pres">
      <dgm:prSet presAssocID="{3A48A32B-9580-42C0-8C7D-69492258029C}" presName="hierChild2" presStyleCnt="0"/>
      <dgm:spPr/>
    </dgm:pt>
    <dgm:pt modelId="{49649448-F8BA-4EC2-81E4-E0D7F9F4FCD9}" type="pres">
      <dgm:prSet presAssocID="{0CCC891F-1570-4F31-A721-E37EEF4844C0}" presName="hierRoot1" presStyleCnt="0"/>
      <dgm:spPr/>
    </dgm:pt>
    <dgm:pt modelId="{309DC942-1311-4B5B-8F38-D9F13B650648}" type="pres">
      <dgm:prSet presAssocID="{0CCC891F-1570-4F31-A721-E37EEF4844C0}" presName="composite" presStyleCnt="0"/>
      <dgm:spPr/>
    </dgm:pt>
    <dgm:pt modelId="{5442D300-DF4E-4ECF-B548-B5B008D6DCDC}" type="pres">
      <dgm:prSet presAssocID="{0CCC891F-1570-4F31-A721-E37EEF4844C0}" presName="background" presStyleLbl="node0" presStyleIdx="1" presStyleCnt="4"/>
      <dgm:spPr>
        <a:solidFill>
          <a:schemeClr val="tx2"/>
        </a:solidFill>
      </dgm:spPr>
    </dgm:pt>
    <dgm:pt modelId="{C64B4587-AFFD-4E9F-B413-ACD56243523F}" type="pres">
      <dgm:prSet presAssocID="{0CCC891F-1570-4F31-A721-E37EEF4844C0}" presName="text" presStyleLbl="fgAcc0" presStyleIdx="1" presStyleCnt="4">
        <dgm:presLayoutVars>
          <dgm:chPref val="3"/>
        </dgm:presLayoutVars>
      </dgm:prSet>
      <dgm:spPr/>
    </dgm:pt>
    <dgm:pt modelId="{3B803BA3-7AFB-4BB2-B729-9F331C9264A0}" type="pres">
      <dgm:prSet presAssocID="{0CCC891F-1570-4F31-A721-E37EEF4844C0}" presName="hierChild2" presStyleCnt="0"/>
      <dgm:spPr/>
    </dgm:pt>
    <dgm:pt modelId="{72674121-CBC2-45AB-A0A7-93EC474CC9A1}" type="pres">
      <dgm:prSet presAssocID="{CE980DE5-CCAD-448F-A537-022A432ECE7E}" presName="hierRoot1" presStyleCnt="0"/>
      <dgm:spPr/>
    </dgm:pt>
    <dgm:pt modelId="{7CB54C17-BE4C-4478-B034-C28B7ACE448B}" type="pres">
      <dgm:prSet presAssocID="{CE980DE5-CCAD-448F-A537-022A432ECE7E}" presName="composite" presStyleCnt="0"/>
      <dgm:spPr/>
    </dgm:pt>
    <dgm:pt modelId="{B9706366-9AD6-4A3D-A762-894F87007B1E}" type="pres">
      <dgm:prSet presAssocID="{CE980DE5-CCAD-448F-A537-022A432ECE7E}" presName="background" presStyleLbl="node0" presStyleIdx="2" presStyleCnt="4"/>
      <dgm:spPr>
        <a:solidFill>
          <a:schemeClr val="tx2"/>
        </a:solidFill>
      </dgm:spPr>
    </dgm:pt>
    <dgm:pt modelId="{C1CDCD23-7FD6-48C6-B0A8-8A3A80DAB792}" type="pres">
      <dgm:prSet presAssocID="{CE980DE5-CCAD-448F-A537-022A432ECE7E}" presName="text" presStyleLbl="fgAcc0" presStyleIdx="2" presStyleCnt="4">
        <dgm:presLayoutVars>
          <dgm:chPref val="3"/>
        </dgm:presLayoutVars>
      </dgm:prSet>
      <dgm:spPr/>
    </dgm:pt>
    <dgm:pt modelId="{17F8189F-0538-4901-A914-70DBD299799A}" type="pres">
      <dgm:prSet presAssocID="{CE980DE5-CCAD-448F-A537-022A432ECE7E}" presName="hierChild2" presStyleCnt="0"/>
      <dgm:spPr/>
    </dgm:pt>
    <dgm:pt modelId="{4C523B5A-C02D-4FB0-B9C9-2CEF294F15D0}" type="pres">
      <dgm:prSet presAssocID="{99FB0D4F-2EBA-4B31-A330-D9485DE141CE}" presName="hierRoot1" presStyleCnt="0"/>
      <dgm:spPr/>
    </dgm:pt>
    <dgm:pt modelId="{AD9D31DD-B01D-4179-B02F-41F08E4C1DF2}" type="pres">
      <dgm:prSet presAssocID="{99FB0D4F-2EBA-4B31-A330-D9485DE141CE}" presName="composite" presStyleCnt="0"/>
      <dgm:spPr/>
    </dgm:pt>
    <dgm:pt modelId="{50948E27-07E7-49E5-AD1A-CBC396FF1646}" type="pres">
      <dgm:prSet presAssocID="{99FB0D4F-2EBA-4B31-A330-D9485DE141CE}" presName="background" presStyleLbl="node0" presStyleIdx="3" presStyleCnt="4"/>
      <dgm:spPr>
        <a:solidFill>
          <a:schemeClr val="tx2"/>
        </a:solidFill>
      </dgm:spPr>
    </dgm:pt>
    <dgm:pt modelId="{38FDDEC5-D691-4328-852D-2CDB5644DA32}" type="pres">
      <dgm:prSet presAssocID="{99FB0D4F-2EBA-4B31-A330-D9485DE141CE}" presName="text" presStyleLbl="fgAcc0" presStyleIdx="3" presStyleCnt="4">
        <dgm:presLayoutVars>
          <dgm:chPref val="3"/>
        </dgm:presLayoutVars>
      </dgm:prSet>
      <dgm:spPr/>
    </dgm:pt>
    <dgm:pt modelId="{ABA678ED-41F5-4380-8C2B-4969C3FF526B}" type="pres">
      <dgm:prSet presAssocID="{99FB0D4F-2EBA-4B31-A330-D9485DE141CE}" presName="hierChild2" presStyleCnt="0"/>
      <dgm:spPr/>
    </dgm:pt>
  </dgm:ptLst>
  <dgm:cxnLst>
    <dgm:cxn modelId="{382A2E13-911B-4959-84BA-D69CB9818694}" type="presOf" srcId="{3A48A32B-9580-42C0-8C7D-69492258029C}" destId="{400BED9C-E94C-404E-AC75-14E7D7D7958D}" srcOrd="0" destOrd="0" presId="urn:microsoft.com/office/officeart/2005/8/layout/hierarchy1"/>
    <dgm:cxn modelId="{9C9F1C30-6F4E-41C3-80F0-DD8A4992351E}" type="presOf" srcId="{CE980DE5-CCAD-448F-A537-022A432ECE7E}" destId="{C1CDCD23-7FD6-48C6-B0A8-8A3A80DAB792}" srcOrd="0" destOrd="0" presId="urn:microsoft.com/office/officeart/2005/8/layout/hierarchy1"/>
    <dgm:cxn modelId="{92473D35-7EF8-4129-B6C0-B744729F5B38}" type="presOf" srcId="{99FB0D4F-2EBA-4B31-A330-D9485DE141CE}" destId="{38FDDEC5-D691-4328-852D-2CDB5644DA32}" srcOrd="0" destOrd="0" presId="urn:microsoft.com/office/officeart/2005/8/layout/hierarchy1"/>
    <dgm:cxn modelId="{8B55B13A-01C6-4334-BA44-26E203F56C99}" srcId="{A4A5F747-20E0-4FC0-955C-7D1A4FAD4B1E}" destId="{CE980DE5-CCAD-448F-A537-022A432ECE7E}" srcOrd="2" destOrd="0" parTransId="{DA186B1A-7A29-4018-8DDD-E23188012F43}" sibTransId="{AB67C7E2-C841-4108-A9BA-7A12ED4A704F}"/>
    <dgm:cxn modelId="{C7702962-DA1D-44EB-9172-BBFEA9551FAE}" srcId="{A4A5F747-20E0-4FC0-955C-7D1A4FAD4B1E}" destId="{0CCC891F-1570-4F31-A721-E37EEF4844C0}" srcOrd="1" destOrd="0" parTransId="{687D5C5E-5614-4B98-A00F-5136DD61ED26}" sibTransId="{07CE023B-C01B-4EDD-AB21-03A4EE41439A}"/>
    <dgm:cxn modelId="{EC665546-81B9-4735-964F-0028D85AF7C9}" type="presOf" srcId="{A4A5F747-20E0-4FC0-955C-7D1A4FAD4B1E}" destId="{1D3CD5E4-8EB3-4251-8AFD-F229F371735E}" srcOrd="0" destOrd="0" presId="urn:microsoft.com/office/officeart/2005/8/layout/hierarchy1"/>
    <dgm:cxn modelId="{BAE67567-0692-4B2B-82AF-3BA1C845A401}" srcId="{A4A5F747-20E0-4FC0-955C-7D1A4FAD4B1E}" destId="{99FB0D4F-2EBA-4B31-A330-D9485DE141CE}" srcOrd="3" destOrd="0" parTransId="{792F275A-EEBC-4D72-9849-E8061CC026E8}" sibTransId="{940468D4-6C38-4B2E-B1ED-4B0D606E398D}"/>
    <dgm:cxn modelId="{5828076F-8CF6-4C8F-87F9-948FE999B597}" type="presOf" srcId="{0CCC891F-1570-4F31-A721-E37EEF4844C0}" destId="{C64B4587-AFFD-4E9F-B413-ACD56243523F}" srcOrd="0" destOrd="0" presId="urn:microsoft.com/office/officeart/2005/8/layout/hierarchy1"/>
    <dgm:cxn modelId="{1878085A-4840-4581-B56E-09D58EB48484}" srcId="{A4A5F747-20E0-4FC0-955C-7D1A4FAD4B1E}" destId="{3A48A32B-9580-42C0-8C7D-69492258029C}" srcOrd="0" destOrd="0" parTransId="{4A9614A4-2405-4C92-B06F-85EF29AA432E}" sibTransId="{4938C716-60F0-46B5-9991-F0E33B7CFDAB}"/>
    <dgm:cxn modelId="{9B45034C-64AC-4FE6-8F49-8FCDA7D21627}" type="presParOf" srcId="{1D3CD5E4-8EB3-4251-8AFD-F229F371735E}" destId="{BAF9B49C-20D2-4261-857E-2B813962742D}" srcOrd="0" destOrd="0" presId="urn:microsoft.com/office/officeart/2005/8/layout/hierarchy1"/>
    <dgm:cxn modelId="{DA54D4B2-B390-42CF-92DF-4BD43BDB9309}" type="presParOf" srcId="{BAF9B49C-20D2-4261-857E-2B813962742D}" destId="{E8186306-C463-4D16-8D2B-646EE1C3C1DD}" srcOrd="0" destOrd="0" presId="urn:microsoft.com/office/officeart/2005/8/layout/hierarchy1"/>
    <dgm:cxn modelId="{B1C1E94D-231B-41A2-ABD2-75380721B54D}" type="presParOf" srcId="{E8186306-C463-4D16-8D2B-646EE1C3C1DD}" destId="{7E006609-2B1F-4212-9830-A524EB820D7B}" srcOrd="0" destOrd="0" presId="urn:microsoft.com/office/officeart/2005/8/layout/hierarchy1"/>
    <dgm:cxn modelId="{F536BEA9-227A-4F7B-A4A3-2F5D85EC0EC8}" type="presParOf" srcId="{E8186306-C463-4D16-8D2B-646EE1C3C1DD}" destId="{400BED9C-E94C-404E-AC75-14E7D7D7958D}" srcOrd="1" destOrd="0" presId="urn:microsoft.com/office/officeart/2005/8/layout/hierarchy1"/>
    <dgm:cxn modelId="{0E792105-48DC-4CFA-A7B9-ABDBCFD96E99}" type="presParOf" srcId="{BAF9B49C-20D2-4261-857E-2B813962742D}" destId="{7F2FC51E-7BA4-4640-9C04-DF6421F5890A}" srcOrd="1" destOrd="0" presId="urn:microsoft.com/office/officeart/2005/8/layout/hierarchy1"/>
    <dgm:cxn modelId="{C5A9770B-3DC1-49FD-B48F-F9E94C60ECBF}" type="presParOf" srcId="{1D3CD5E4-8EB3-4251-8AFD-F229F371735E}" destId="{49649448-F8BA-4EC2-81E4-E0D7F9F4FCD9}" srcOrd="1" destOrd="0" presId="urn:microsoft.com/office/officeart/2005/8/layout/hierarchy1"/>
    <dgm:cxn modelId="{39181F2F-8D66-4A0E-A4EB-46BBFF85F53C}" type="presParOf" srcId="{49649448-F8BA-4EC2-81E4-E0D7F9F4FCD9}" destId="{309DC942-1311-4B5B-8F38-D9F13B650648}" srcOrd="0" destOrd="0" presId="urn:microsoft.com/office/officeart/2005/8/layout/hierarchy1"/>
    <dgm:cxn modelId="{126DFB26-D6FF-480C-A411-A3DCDB8058D3}" type="presParOf" srcId="{309DC942-1311-4B5B-8F38-D9F13B650648}" destId="{5442D300-DF4E-4ECF-B548-B5B008D6DCDC}" srcOrd="0" destOrd="0" presId="urn:microsoft.com/office/officeart/2005/8/layout/hierarchy1"/>
    <dgm:cxn modelId="{5CF5DD46-58C3-401A-9B28-A191A3B8EAE8}" type="presParOf" srcId="{309DC942-1311-4B5B-8F38-D9F13B650648}" destId="{C64B4587-AFFD-4E9F-B413-ACD56243523F}" srcOrd="1" destOrd="0" presId="urn:microsoft.com/office/officeart/2005/8/layout/hierarchy1"/>
    <dgm:cxn modelId="{29AE1C8F-2514-4C62-9153-66572E0B41EB}" type="presParOf" srcId="{49649448-F8BA-4EC2-81E4-E0D7F9F4FCD9}" destId="{3B803BA3-7AFB-4BB2-B729-9F331C9264A0}" srcOrd="1" destOrd="0" presId="urn:microsoft.com/office/officeart/2005/8/layout/hierarchy1"/>
    <dgm:cxn modelId="{C97103BE-196F-47E4-894D-F51FCC299E6B}" type="presParOf" srcId="{1D3CD5E4-8EB3-4251-8AFD-F229F371735E}" destId="{72674121-CBC2-45AB-A0A7-93EC474CC9A1}" srcOrd="2" destOrd="0" presId="urn:microsoft.com/office/officeart/2005/8/layout/hierarchy1"/>
    <dgm:cxn modelId="{6145D78B-A78D-4BE6-82AF-8BADB6C3FD8E}" type="presParOf" srcId="{72674121-CBC2-45AB-A0A7-93EC474CC9A1}" destId="{7CB54C17-BE4C-4478-B034-C28B7ACE448B}" srcOrd="0" destOrd="0" presId="urn:microsoft.com/office/officeart/2005/8/layout/hierarchy1"/>
    <dgm:cxn modelId="{39325050-77F1-4C0C-9995-0A8CCFC2BE37}" type="presParOf" srcId="{7CB54C17-BE4C-4478-B034-C28B7ACE448B}" destId="{B9706366-9AD6-4A3D-A762-894F87007B1E}" srcOrd="0" destOrd="0" presId="urn:microsoft.com/office/officeart/2005/8/layout/hierarchy1"/>
    <dgm:cxn modelId="{F4B12AD4-ECC3-4661-A753-51F12F23CCD5}" type="presParOf" srcId="{7CB54C17-BE4C-4478-B034-C28B7ACE448B}" destId="{C1CDCD23-7FD6-48C6-B0A8-8A3A80DAB792}" srcOrd="1" destOrd="0" presId="urn:microsoft.com/office/officeart/2005/8/layout/hierarchy1"/>
    <dgm:cxn modelId="{2F1D93D7-11CB-4969-864D-4482E2EAD304}" type="presParOf" srcId="{72674121-CBC2-45AB-A0A7-93EC474CC9A1}" destId="{17F8189F-0538-4901-A914-70DBD299799A}" srcOrd="1" destOrd="0" presId="urn:microsoft.com/office/officeart/2005/8/layout/hierarchy1"/>
    <dgm:cxn modelId="{3E081078-0D48-4E55-9058-FF380F7C094A}" type="presParOf" srcId="{1D3CD5E4-8EB3-4251-8AFD-F229F371735E}" destId="{4C523B5A-C02D-4FB0-B9C9-2CEF294F15D0}" srcOrd="3" destOrd="0" presId="urn:microsoft.com/office/officeart/2005/8/layout/hierarchy1"/>
    <dgm:cxn modelId="{F6850E4A-92B2-41B9-B7BA-74CCC7E84236}" type="presParOf" srcId="{4C523B5A-C02D-4FB0-B9C9-2CEF294F15D0}" destId="{AD9D31DD-B01D-4179-B02F-41F08E4C1DF2}" srcOrd="0" destOrd="0" presId="urn:microsoft.com/office/officeart/2005/8/layout/hierarchy1"/>
    <dgm:cxn modelId="{DA8CD79C-A353-4812-8CD7-06FCAB7EFCC4}" type="presParOf" srcId="{AD9D31DD-B01D-4179-B02F-41F08E4C1DF2}" destId="{50948E27-07E7-49E5-AD1A-CBC396FF1646}" srcOrd="0" destOrd="0" presId="urn:microsoft.com/office/officeart/2005/8/layout/hierarchy1"/>
    <dgm:cxn modelId="{7777FEBF-44A5-46AB-9E42-8818212CF452}" type="presParOf" srcId="{AD9D31DD-B01D-4179-B02F-41F08E4C1DF2}" destId="{38FDDEC5-D691-4328-852D-2CDB5644DA32}" srcOrd="1" destOrd="0" presId="urn:microsoft.com/office/officeart/2005/8/layout/hierarchy1"/>
    <dgm:cxn modelId="{35026824-3D43-4E10-B304-A026CF465070}" type="presParOf" srcId="{4C523B5A-C02D-4FB0-B9C9-2CEF294F15D0}" destId="{ABA678ED-41F5-4380-8C2B-4969C3FF526B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343313-08E2-4F82-B9CD-97DB8C772549}" type="doc">
      <dgm:prSet loTypeId="urn:microsoft.com/office/officeart/2005/8/layout/chevron1" loCatId="process" qsTypeId="urn:microsoft.com/office/officeart/2005/8/quickstyle/simple1" qsCatId="simple" csTypeId="urn:microsoft.com/office/officeart/2005/8/colors/accent0_3" csCatId="mainScheme" phldr="1"/>
      <dgm:spPr/>
    </dgm:pt>
    <dgm:pt modelId="{5ECDC0D4-34F0-4A1D-A4F6-7B56194185E6}">
      <dgm:prSet phldrT="[Text]"/>
      <dgm:spPr/>
      <dgm:t>
        <a:bodyPr/>
        <a:lstStyle/>
        <a:p>
          <a:r>
            <a:rPr lang="en-GB" dirty="0"/>
            <a:t>I&amp;D Production Scheduling </a:t>
          </a:r>
        </a:p>
        <a:p>
          <a:r>
            <a:rPr lang="en-GB" dirty="0"/>
            <a:t>Sep 2019</a:t>
          </a:r>
        </a:p>
      </dgm:t>
    </dgm:pt>
    <dgm:pt modelId="{2FF38CA2-F372-4F52-A005-2CE12EC5B129}" type="parTrans" cxnId="{D360BC9F-2B92-4027-8357-9D5B230B7F2F}">
      <dgm:prSet/>
      <dgm:spPr/>
      <dgm:t>
        <a:bodyPr/>
        <a:lstStyle/>
        <a:p>
          <a:endParaRPr lang="en-GB"/>
        </a:p>
      </dgm:t>
    </dgm:pt>
    <dgm:pt modelId="{BC191253-6426-4BD3-9951-67ADC7C6F77E}" type="sibTrans" cxnId="{D360BC9F-2B92-4027-8357-9D5B230B7F2F}">
      <dgm:prSet/>
      <dgm:spPr/>
      <dgm:t>
        <a:bodyPr/>
        <a:lstStyle/>
        <a:p>
          <a:endParaRPr lang="en-GB"/>
        </a:p>
      </dgm:t>
    </dgm:pt>
    <dgm:pt modelId="{DDAA5C7E-2967-46EC-8E82-9EC50CB0DBB6}">
      <dgm:prSet phldrT="[Text]"/>
      <dgm:spPr/>
      <dgm:t>
        <a:bodyPr/>
        <a:lstStyle/>
        <a:p>
          <a:r>
            <a:rPr lang="en-GB" dirty="0"/>
            <a:t>Vials Production Scheduling</a:t>
          </a:r>
        </a:p>
        <a:p>
          <a:r>
            <a:rPr lang="en-GB" dirty="0"/>
            <a:t>Sep 2020</a:t>
          </a:r>
        </a:p>
      </dgm:t>
    </dgm:pt>
    <dgm:pt modelId="{6CAABDD3-D242-4EC7-9792-2CBB172C691C}" type="parTrans" cxnId="{27A226FA-FB62-43A6-8934-6992358AA8C4}">
      <dgm:prSet/>
      <dgm:spPr/>
      <dgm:t>
        <a:bodyPr/>
        <a:lstStyle/>
        <a:p>
          <a:endParaRPr lang="en-GB"/>
        </a:p>
      </dgm:t>
    </dgm:pt>
    <dgm:pt modelId="{906C6A89-CD8A-40BA-82FB-3F46B756B386}" type="sibTrans" cxnId="{27A226FA-FB62-43A6-8934-6992358AA8C4}">
      <dgm:prSet/>
      <dgm:spPr/>
      <dgm:t>
        <a:bodyPr/>
        <a:lstStyle/>
        <a:p>
          <a:endParaRPr lang="en-GB"/>
        </a:p>
      </dgm:t>
    </dgm:pt>
    <dgm:pt modelId="{C68E5876-412D-4B4C-8439-749526BBD434}">
      <dgm:prSet phldrT="[Text]"/>
      <dgm:spPr/>
      <dgm:t>
        <a:bodyPr/>
        <a:lstStyle/>
        <a:p>
          <a:r>
            <a:rPr lang="en-GB" dirty="0"/>
            <a:t>Material scheduling </a:t>
          </a:r>
        </a:p>
        <a:p>
          <a:r>
            <a:rPr lang="en-GB" dirty="0"/>
            <a:t>July 2021</a:t>
          </a:r>
        </a:p>
      </dgm:t>
    </dgm:pt>
    <dgm:pt modelId="{B40A3B22-93A0-4E0B-835F-8B051C15AFD9}" type="parTrans" cxnId="{93B5125B-8D9C-462E-83C6-4E6A4F342AB2}">
      <dgm:prSet/>
      <dgm:spPr/>
      <dgm:t>
        <a:bodyPr/>
        <a:lstStyle/>
        <a:p>
          <a:endParaRPr lang="en-GB"/>
        </a:p>
      </dgm:t>
    </dgm:pt>
    <dgm:pt modelId="{D4E482FA-3C82-4E3A-B1F5-7AEC8436ABA2}" type="sibTrans" cxnId="{93B5125B-8D9C-462E-83C6-4E6A4F342AB2}">
      <dgm:prSet/>
      <dgm:spPr/>
      <dgm:t>
        <a:bodyPr/>
        <a:lstStyle/>
        <a:p>
          <a:endParaRPr lang="en-GB"/>
        </a:p>
      </dgm:t>
    </dgm:pt>
    <dgm:pt modelId="{FD0B7CB4-15A8-470E-8C9E-F61081F65CD3}">
      <dgm:prSet/>
      <dgm:spPr>
        <a:solidFill>
          <a:schemeClr val="accent3"/>
        </a:solidFill>
      </dgm:spPr>
      <dgm:t>
        <a:bodyPr/>
        <a:lstStyle/>
        <a:p>
          <a:r>
            <a:rPr lang="en-GB" dirty="0"/>
            <a:t>Raw Material &amp; API scheduling </a:t>
          </a:r>
        </a:p>
        <a:p>
          <a:r>
            <a:rPr lang="en-GB" dirty="0"/>
            <a:t>April 2022</a:t>
          </a:r>
        </a:p>
      </dgm:t>
    </dgm:pt>
    <dgm:pt modelId="{9EAB785A-373A-4CB3-BB41-FFC801A2B37E}" type="parTrans" cxnId="{4C3FB92C-40CC-46DF-AB0B-28138237D5C1}">
      <dgm:prSet/>
      <dgm:spPr/>
      <dgm:t>
        <a:bodyPr/>
        <a:lstStyle/>
        <a:p>
          <a:endParaRPr lang="en-GB"/>
        </a:p>
      </dgm:t>
    </dgm:pt>
    <dgm:pt modelId="{0A874439-4D86-46B7-AB31-A191328C6E06}" type="sibTrans" cxnId="{4C3FB92C-40CC-46DF-AB0B-28138237D5C1}">
      <dgm:prSet/>
      <dgm:spPr/>
      <dgm:t>
        <a:bodyPr/>
        <a:lstStyle/>
        <a:p>
          <a:endParaRPr lang="en-GB"/>
        </a:p>
      </dgm:t>
    </dgm:pt>
    <dgm:pt modelId="{EE8C719E-F41C-4880-A4DD-7B493D5E9FB6}" type="pres">
      <dgm:prSet presAssocID="{AE343313-08E2-4F82-B9CD-97DB8C772549}" presName="Name0" presStyleCnt="0">
        <dgm:presLayoutVars>
          <dgm:dir/>
          <dgm:animLvl val="lvl"/>
          <dgm:resizeHandles val="exact"/>
        </dgm:presLayoutVars>
      </dgm:prSet>
      <dgm:spPr/>
    </dgm:pt>
    <dgm:pt modelId="{3F696D9D-FDDE-4FCB-AFF9-D3D526401F1A}" type="pres">
      <dgm:prSet presAssocID="{5ECDC0D4-34F0-4A1D-A4F6-7B56194185E6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A2E6589-093B-428E-8730-FAFB3BEEF857}" type="pres">
      <dgm:prSet presAssocID="{BC191253-6426-4BD3-9951-67ADC7C6F77E}" presName="parTxOnlySpace" presStyleCnt="0"/>
      <dgm:spPr/>
    </dgm:pt>
    <dgm:pt modelId="{1606F9E7-4A0F-410C-9A6F-5C1EBE9C885F}" type="pres">
      <dgm:prSet presAssocID="{DDAA5C7E-2967-46EC-8E82-9EC50CB0DBB6}" presName="parTxOnly" presStyleLbl="node1" presStyleIdx="1" presStyleCnt="4" custLinFactNeighborX="-273" custLinFactNeighborY="0">
        <dgm:presLayoutVars>
          <dgm:chMax val="0"/>
          <dgm:chPref val="0"/>
          <dgm:bulletEnabled val="1"/>
        </dgm:presLayoutVars>
      </dgm:prSet>
      <dgm:spPr/>
    </dgm:pt>
    <dgm:pt modelId="{1BF9231E-287C-4E7A-A5A3-A2AA46745E4B}" type="pres">
      <dgm:prSet presAssocID="{906C6A89-CD8A-40BA-82FB-3F46B756B386}" presName="parTxOnlySpace" presStyleCnt="0"/>
      <dgm:spPr/>
    </dgm:pt>
    <dgm:pt modelId="{82316BD6-09C6-4D20-8A8B-943B9068E33E}" type="pres">
      <dgm:prSet presAssocID="{C68E5876-412D-4B4C-8439-749526BBD434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280819EA-A61F-4F3E-B65C-AFFC806CFC94}" type="pres">
      <dgm:prSet presAssocID="{D4E482FA-3C82-4E3A-B1F5-7AEC8436ABA2}" presName="parTxOnlySpace" presStyleCnt="0"/>
      <dgm:spPr/>
    </dgm:pt>
    <dgm:pt modelId="{E2D2E407-F33B-4432-8FD2-94256509669C}" type="pres">
      <dgm:prSet presAssocID="{FD0B7CB4-15A8-470E-8C9E-F61081F65CD3}" presName="parTxOnly" presStyleLbl="node1" presStyleIdx="3" presStyleCnt="4" custScaleX="139024" custScaleY="99818">
        <dgm:presLayoutVars>
          <dgm:chMax val="0"/>
          <dgm:chPref val="0"/>
          <dgm:bulletEnabled val="1"/>
        </dgm:presLayoutVars>
      </dgm:prSet>
      <dgm:spPr/>
    </dgm:pt>
  </dgm:ptLst>
  <dgm:cxnLst>
    <dgm:cxn modelId="{5CDE281B-E6C6-476F-BF37-413D6BADD169}" type="presOf" srcId="{AE343313-08E2-4F82-B9CD-97DB8C772549}" destId="{EE8C719E-F41C-4880-A4DD-7B493D5E9FB6}" srcOrd="0" destOrd="0" presId="urn:microsoft.com/office/officeart/2005/8/layout/chevron1"/>
    <dgm:cxn modelId="{090BF923-C900-4361-AACC-531E63793893}" type="presOf" srcId="{DDAA5C7E-2967-46EC-8E82-9EC50CB0DBB6}" destId="{1606F9E7-4A0F-410C-9A6F-5C1EBE9C885F}" srcOrd="0" destOrd="0" presId="urn:microsoft.com/office/officeart/2005/8/layout/chevron1"/>
    <dgm:cxn modelId="{4C3FB92C-40CC-46DF-AB0B-28138237D5C1}" srcId="{AE343313-08E2-4F82-B9CD-97DB8C772549}" destId="{FD0B7CB4-15A8-470E-8C9E-F61081F65CD3}" srcOrd="3" destOrd="0" parTransId="{9EAB785A-373A-4CB3-BB41-FFC801A2B37E}" sibTransId="{0A874439-4D86-46B7-AB31-A191328C6E06}"/>
    <dgm:cxn modelId="{93B5125B-8D9C-462E-83C6-4E6A4F342AB2}" srcId="{AE343313-08E2-4F82-B9CD-97DB8C772549}" destId="{C68E5876-412D-4B4C-8439-749526BBD434}" srcOrd="2" destOrd="0" parTransId="{B40A3B22-93A0-4E0B-835F-8B051C15AFD9}" sibTransId="{D4E482FA-3C82-4E3A-B1F5-7AEC8436ABA2}"/>
    <dgm:cxn modelId="{A953B768-EEC7-46CE-9AA8-F44FE1500D9C}" type="presOf" srcId="{FD0B7CB4-15A8-470E-8C9E-F61081F65CD3}" destId="{E2D2E407-F33B-4432-8FD2-94256509669C}" srcOrd="0" destOrd="0" presId="urn:microsoft.com/office/officeart/2005/8/layout/chevron1"/>
    <dgm:cxn modelId="{0F36F284-66B1-4075-A3A0-A63142EB1F78}" type="presOf" srcId="{C68E5876-412D-4B4C-8439-749526BBD434}" destId="{82316BD6-09C6-4D20-8A8B-943B9068E33E}" srcOrd="0" destOrd="0" presId="urn:microsoft.com/office/officeart/2005/8/layout/chevron1"/>
    <dgm:cxn modelId="{D360BC9F-2B92-4027-8357-9D5B230B7F2F}" srcId="{AE343313-08E2-4F82-B9CD-97DB8C772549}" destId="{5ECDC0D4-34F0-4A1D-A4F6-7B56194185E6}" srcOrd="0" destOrd="0" parTransId="{2FF38CA2-F372-4F52-A005-2CE12EC5B129}" sibTransId="{BC191253-6426-4BD3-9951-67ADC7C6F77E}"/>
    <dgm:cxn modelId="{389B3FC9-AB8B-450F-8E2B-8C411DD62827}" type="presOf" srcId="{5ECDC0D4-34F0-4A1D-A4F6-7B56194185E6}" destId="{3F696D9D-FDDE-4FCB-AFF9-D3D526401F1A}" srcOrd="0" destOrd="0" presId="urn:microsoft.com/office/officeart/2005/8/layout/chevron1"/>
    <dgm:cxn modelId="{27A226FA-FB62-43A6-8934-6992358AA8C4}" srcId="{AE343313-08E2-4F82-B9CD-97DB8C772549}" destId="{DDAA5C7E-2967-46EC-8E82-9EC50CB0DBB6}" srcOrd="1" destOrd="0" parTransId="{6CAABDD3-D242-4EC7-9792-2CBB172C691C}" sibTransId="{906C6A89-CD8A-40BA-82FB-3F46B756B386}"/>
    <dgm:cxn modelId="{B11E3CC4-DD66-4A65-BF99-13CF0B2198CA}" type="presParOf" srcId="{EE8C719E-F41C-4880-A4DD-7B493D5E9FB6}" destId="{3F696D9D-FDDE-4FCB-AFF9-D3D526401F1A}" srcOrd="0" destOrd="0" presId="urn:microsoft.com/office/officeart/2005/8/layout/chevron1"/>
    <dgm:cxn modelId="{142E33A3-9EE2-43D6-AEA9-0326B04CEE7D}" type="presParOf" srcId="{EE8C719E-F41C-4880-A4DD-7B493D5E9FB6}" destId="{2A2E6589-093B-428E-8730-FAFB3BEEF857}" srcOrd="1" destOrd="0" presId="urn:microsoft.com/office/officeart/2005/8/layout/chevron1"/>
    <dgm:cxn modelId="{63100BF2-CE8A-49AF-9667-CEE31E89D1BB}" type="presParOf" srcId="{EE8C719E-F41C-4880-A4DD-7B493D5E9FB6}" destId="{1606F9E7-4A0F-410C-9A6F-5C1EBE9C885F}" srcOrd="2" destOrd="0" presId="urn:microsoft.com/office/officeart/2005/8/layout/chevron1"/>
    <dgm:cxn modelId="{CE44A836-376E-4037-B423-CBFE0ADFE427}" type="presParOf" srcId="{EE8C719E-F41C-4880-A4DD-7B493D5E9FB6}" destId="{1BF9231E-287C-4E7A-A5A3-A2AA46745E4B}" srcOrd="3" destOrd="0" presId="urn:microsoft.com/office/officeart/2005/8/layout/chevron1"/>
    <dgm:cxn modelId="{286D9DEA-0D6F-4C46-99C7-7148BA646C8C}" type="presParOf" srcId="{EE8C719E-F41C-4880-A4DD-7B493D5E9FB6}" destId="{82316BD6-09C6-4D20-8A8B-943B9068E33E}" srcOrd="4" destOrd="0" presId="urn:microsoft.com/office/officeart/2005/8/layout/chevron1"/>
    <dgm:cxn modelId="{57818C98-C9CD-411F-A18C-80008ABF4EBB}" type="presParOf" srcId="{EE8C719E-F41C-4880-A4DD-7B493D5E9FB6}" destId="{280819EA-A61F-4F3E-B65C-AFFC806CFC94}" srcOrd="5" destOrd="0" presId="urn:microsoft.com/office/officeart/2005/8/layout/chevron1"/>
    <dgm:cxn modelId="{4C3C8DBB-2B38-45DC-AD2E-59F1C52DD16F}" type="presParOf" srcId="{EE8C719E-F41C-4880-A4DD-7B493D5E9FB6}" destId="{E2D2E407-F33B-4432-8FD2-94256509669C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006609-2B1F-4212-9830-A524EB820D7B}">
      <dsp:nvSpPr>
        <dsp:cNvPr id="0" name=""/>
        <dsp:cNvSpPr/>
      </dsp:nvSpPr>
      <dsp:spPr>
        <a:xfrm>
          <a:off x="3357" y="1357124"/>
          <a:ext cx="2397120" cy="1522171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0BED9C-E94C-404E-AC75-14E7D7D7958D}">
      <dsp:nvSpPr>
        <dsp:cNvPr id="0" name=""/>
        <dsp:cNvSpPr/>
      </dsp:nvSpPr>
      <dsp:spPr>
        <a:xfrm>
          <a:off x="269704" y="1610153"/>
          <a:ext cx="2397120" cy="15221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Experience working in a global company ( FTSE 100).</a:t>
          </a:r>
          <a:endParaRPr lang="en-US" sz="2300" kern="1200"/>
        </a:p>
      </dsp:txBody>
      <dsp:txXfrm>
        <a:off x="314287" y="1654736"/>
        <a:ext cx="2307954" cy="1433005"/>
      </dsp:txXfrm>
    </dsp:sp>
    <dsp:sp modelId="{5442D300-DF4E-4ECF-B548-B5B008D6DCDC}">
      <dsp:nvSpPr>
        <dsp:cNvPr id="0" name=""/>
        <dsp:cNvSpPr/>
      </dsp:nvSpPr>
      <dsp:spPr>
        <a:xfrm>
          <a:off x="2933171" y="1357124"/>
          <a:ext cx="2397120" cy="1522171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4B4587-AFFD-4E9F-B413-ACD56243523F}">
      <dsp:nvSpPr>
        <dsp:cNvPr id="0" name=""/>
        <dsp:cNvSpPr/>
      </dsp:nvSpPr>
      <dsp:spPr>
        <a:xfrm>
          <a:off x="3199518" y="1610153"/>
          <a:ext cx="2397120" cy="15221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Fully qualified within my desired field.</a:t>
          </a:r>
          <a:endParaRPr lang="en-US" sz="2300" kern="1200"/>
        </a:p>
      </dsp:txBody>
      <dsp:txXfrm>
        <a:off x="3244101" y="1654736"/>
        <a:ext cx="2307954" cy="1433005"/>
      </dsp:txXfrm>
    </dsp:sp>
    <dsp:sp modelId="{B9706366-9AD6-4A3D-A762-894F87007B1E}">
      <dsp:nvSpPr>
        <dsp:cNvPr id="0" name=""/>
        <dsp:cNvSpPr/>
      </dsp:nvSpPr>
      <dsp:spPr>
        <a:xfrm>
          <a:off x="5862985" y="1357124"/>
          <a:ext cx="2397120" cy="1522171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CDCD23-7FD6-48C6-B0A8-8A3A80DAB792}">
      <dsp:nvSpPr>
        <dsp:cNvPr id="0" name=""/>
        <dsp:cNvSpPr/>
      </dsp:nvSpPr>
      <dsp:spPr>
        <a:xfrm>
          <a:off x="6129332" y="1610153"/>
          <a:ext cx="2397120" cy="15221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Wide network of Early Talent </a:t>
          </a:r>
          <a:endParaRPr lang="en-US" sz="2300" kern="1200"/>
        </a:p>
      </dsp:txBody>
      <dsp:txXfrm>
        <a:off x="6173915" y="1654736"/>
        <a:ext cx="2307954" cy="1433005"/>
      </dsp:txXfrm>
    </dsp:sp>
    <dsp:sp modelId="{50948E27-07E7-49E5-AD1A-CBC396FF1646}">
      <dsp:nvSpPr>
        <dsp:cNvPr id="0" name=""/>
        <dsp:cNvSpPr/>
      </dsp:nvSpPr>
      <dsp:spPr>
        <a:xfrm>
          <a:off x="8792800" y="1357124"/>
          <a:ext cx="2397120" cy="1522171"/>
        </a:xfrm>
        <a:prstGeom prst="roundRect">
          <a:avLst>
            <a:gd name="adj" fmla="val 10000"/>
          </a:avLst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DDEC5-D691-4328-852D-2CDB5644DA32}">
      <dsp:nvSpPr>
        <dsp:cNvPr id="0" name=""/>
        <dsp:cNvSpPr/>
      </dsp:nvSpPr>
      <dsp:spPr>
        <a:xfrm>
          <a:off x="9059146" y="1610153"/>
          <a:ext cx="2397120" cy="152217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300" kern="1200"/>
            <a:t>Money!!!</a:t>
          </a:r>
          <a:endParaRPr lang="en-US" sz="2300" kern="1200"/>
        </a:p>
      </dsp:txBody>
      <dsp:txXfrm>
        <a:off x="9103729" y="1654736"/>
        <a:ext cx="2307954" cy="14330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696D9D-FDDE-4FCB-AFF9-D3D526401F1A}">
      <dsp:nvSpPr>
        <dsp:cNvPr id="0" name=""/>
        <dsp:cNvSpPr/>
      </dsp:nvSpPr>
      <dsp:spPr>
        <a:xfrm>
          <a:off x="1867" y="340684"/>
          <a:ext cx="2239404" cy="89576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I&amp;D Production Scheduling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ep 2019</a:t>
          </a:r>
        </a:p>
      </dsp:txBody>
      <dsp:txXfrm>
        <a:off x="449748" y="340684"/>
        <a:ext cx="1343643" cy="895761"/>
      </dsp:txXfrm>
    </dsp:sp>
    <dsp:sp modelId="{1606F9E7-4A0F-410C-9A6F-5C1EBE9C885F}">
      <dsp:nvSpPr>
        <dsp:cNvPr id="0" name=""/>
        <dsp:cNvSpPr/>
      </dsp:nvSpPr>
      <dsp:spPr>
        <a:xfrm>
          <a:off x="2016720" y="340684"/>
          <a:ext cx="2239404" cy="89576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Vials Production Schedul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ep 2020</a:t>
          </a:r>
        </a:p>
      </dsp:txBody>
      <dsp:txXfrm>
        <a:off x="2464601" y="340684"/>
        <a:ext cx="1343643" cy="895761"/>
      </dsp:txXfrm>
    </dsp:sp>
    <dsp:sp modelId="{82316BD6-09C6-4D20-8A8B-943B9068E33E}">
      <dsp:nvSpPr>
        <dsp:cNvPr id="0" name=""/>
        <dsp:cNvSpPr/>
      </dsp:nvSpPr>
      <dsp:spPr>
        <a:xfrm>
          <a:off x="4032795" y="340684"/>
          <a:ext cx="2239404" cy="89576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aterial scheduling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July 2021</a:t>
          </a:r>
        </a:p>
      </dsp:txBody>
      <dsp:txXfrm>
        <a:off x="4480676" y="340684"/>
        <a:ext cx="1343643" cy="895761"/>
      </dsp:txXfrm>
    </dsp:sp>
    <dsp:sp modelId="{E2D2E407-F33B-4432-8FD2-94256509669C}">
      <dsp:nvSpPr>
        <dsp:cNvPr id="0" name=""/>
        <dsp:cNvSpPr/>
      </dsp:nvSpPr>
      <dsp:spPr>
        <a:xfrm>
          <a:off x="6048259" y="341499"/>
          <a:ext cx="3113309" cy="894131"/>
        </a:xfrm>
        <a:prstGeom prst="chevron">
          <a:avLst/>
        </a:prstGeom>
        <a:solidFill>
          <a:schemeClr val="accent3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Raw Material &amp; API scheduling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April 2022</a:t>
          </a:r>
        </a:p>
      </dsp:txBody>
      <dsp:txXfrm>
        <a:off x="6495325" y="341499"/>
        <a:ext cx="2219178" cy="8941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7C5DC5B-BF83-D0F8-F17D-E458477D6A3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5C446-58AD-F05A-78BC-F13AD7A39D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FE7CBA-E269-484E-BC88-4EF08BDBC0FE}" type="datetimeFigureOut">
              <a:rPr lang="en-GB" smtClean="0"/>
              <a:t>1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BAEC85-53EE-AA3F-A105-CB67500BDB5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DCF5B-A081-B9F4-9E5F-FDA0297F20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9F402-05D6-4C19-804E-80C8EBA9A78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26926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50A8971-52B8-4C5A-99D8-986A596F2912}" type="datetimeFigureOut">
              <a:rPr lang="en-GB" smtClean="0"/>
              <a:pPr/>
              <a:t>12/04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26B53C8-14E4-49A7-A1A5-3BF810B81EB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9032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9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D179B60-1587-941E-A723-1C3CC5C0E0E2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081E81C-A3CE-333A-79BA-25D8F93FB564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E1FA932-514A-C951-F952-F8A43667EA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4D693C-2F89-1D26-FDEF-3BF8AB9EE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bg1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CD1A09A-E74F-DDD9-A7A4-4FD32035ACF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4399" y="2100263"/>
            <a:ext cx="5303202" cy="159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tx2"/>
          </a:solidFill>
          <a:ln>
            <a:noFill/>
          </a:ln>
        </p:spPr>
        <p:txBody>
          <a:bodyPr wrap="square"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365125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270374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70374" y="1303338"/>
            <a:ext cx="7554913" cy="4478337"/>
          </a:xfrm>
        </p:spPr>
        <p:txBody>
          <a:bodyPr lIns="25200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07491-B576-4FBA-DF55-410D54CA7B16}"/>
              </a:ext>
            </a:extLst>
          </p:cNvPr>
          <p:cNvSpPr/>
          <p:nvPr userDrawn="1"/>
        </p:nvSpPr>
        <p:spPr>
          <a:xfrm>
            <a:off x="4017963" y="1820564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32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A35D6C9-1CA0-9878-3F7C-4F790C689C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23000" y="1303338"/>
            <a:ext cx="5602288" cy="4488605"/>
          </a:xfrm>
          <a:prstGeom prst="roundRect">
            <a:avLst>
              <a:gd name="adj" fmla="val 425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637B329-27DE-51CE-F4B6-EB1199B217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65125" y="1303338"/>
            <a:ext cx="5601600" cy="4488605"/>
          </a:xfrm>
          <a:prstGeom prst="roundRect">
            <a:avLst>
              <a:gd name="adj" fmla="val 391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0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appears outside of grey place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1943"/>
            <a:ext cx="5607050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216325" y="5792438"/>
            <a:ext cx="56089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8E3DBB-00A9-4F08-A07C-9ED9733E007D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D2390426-9D2D-4F00-A428-511448A9836C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37A7E-4BE8-4B01-BC5B-6FE33BA2DB0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87596A-DFCB-4141-B4D9-E8297363009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D8B1503-3382-4C3A-A672-A88D048E0DA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532525" y="1454538"/>
            <a:ext cx="52668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C1C57B-5831-4901-8605-655DBB075B25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391644" y="1454538"/>
            <a:ext cx="5265000" cy="781200"/>
          </a:xfrm>
          <a:prstGeom prst="rect">
            <a:avLst/>
          </a:prstGeom>
        </p:spPr>
        <p:txBody>
          <a:bodyPr wrap="square"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nter</a:t>
            </a:r>
            <a:br>
              <a:rPr lang="en-GB" dirty="0"/>
            </a:br>
            <a:r>
              <a:rPr lang="en-GB" dirty="0"/>
              <a:t>subheading text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B8AF01B-B7EE-69F0-3113-1E07C2D58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10D87C1-85C7-40B7-3EF5-0997E04A3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0DBE383-AB10-CC3B-D342-10443E02C9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8036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Title and Subtitle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106790" y="1303338"/>
            <a:ext cx="7978421" cy="4487862"/>
          </a:xfrm>
          <a:prstGeom prst="roundRect">
            <a:avLst>
              <a:gd name="adj" fmla="val 381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08000">
            <a:normAutofit/>
          </a:bodyPr>
          <a:lstStyle>
            <a:lvl1pPr marL="0" indent="0" algn="ctr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F92204-289D-4897-A24D-92B4E89E417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E42D3BA-5EF1-4DB6-ACB2-E19A79A4A64E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8A5764-43D8-49B1-8CCF-1E44D258B4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A25ACE-65A6-48E3-AD24-12A240BC4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F9DC526-9754-7DE6-EAC5-B9EB6B6E3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F9C0347F-097D-6010-8D87-88D141F8B2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23D2E9-B2C7-255F-E578-0BCEF8C8BF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3180677-148E-F381-0168-9327D51EF5C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13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Widescreen (16x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44A2-1C9C-FB10-07A8-CED6CF02745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Media Placeholder 5"/>
          <p:cNvSpPr>
            <a:spLocks noGrp="1" noChangeAspect="1"/>
          </p:cNvSpPr>
          <p:nvPr>
            <p:ph type="media" sz="quarter" idx="12" hasCustomPrompt="1"/>
          </p:nvPr>
        </p:nvSpPr>
        <p:spPr>
          <a:xfrm>
            <a:off x="242888" y="242888"/>
            <a:ext cx="11352439" cy="6384013"/>
          </a:xfrm>
          <a:prstGeom prst="roundRect">
            <a:avLst>
              <a:gd name="adj" fmla="val 272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8000" tIns="108000" bIns="1224000" anchor="ctr">
            <a:norm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on the film icon to insert video]</a:t>
            </a:r>
          </a:p>
        </p:txBody>
      </p:sp>
    </p:spTree>
    <p:extLst>
      <p:ext uri="{BB962C8B-B14F-4D97-AF65-F5344CB8AC3E}">
        <p14:creationId xmlns:p14="http://schemas.microsoft.com/office/powerpoint/2010/main" val="2599322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1303338"/>
            <a:ext cx="3652838" cy="4787862"/>
          </a:xfrm>
          <a:prstGeom prst="roundRect">
            <a:avLst>
              <a:gd name="adj" fmla="val 478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576000" bIns="72000" anchor="ctr">
            <a:noAutofit/>
          </a:bodyPr>
          <a:lstStyle>
            <a:lvl1pPr marL="0" indent="0" algn="ctr">
              <a:buNone/>
              <a:defRPr sz="20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The image can then be scaled within the frame by using the ‘Crop’ feature in the ‘Picture Format’ tab of the ribbon.</a:t>
            </a:r>
            <a:r>
              <a:rPr lang="en-US" dirty="0"/>
              <a:t>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75B623F-E1ED-BC6F-EAB9-2F7C7BB5A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05B934E4-D94D-494D-8E16-6927D2105C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4C03FD5-9F96-2D56-07D6-C43A8485D860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16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9163369-E20E-4F1F-9100-6DD4DDB346C3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E219C323-6E00-D14B-433A-AFFED48030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8000"/>
          </a:xfrm>
          <a:custGeom>
            <a:avLst/>
            <a:gdLst>
              <a:gd name="connsiteX0" fmla="*/ 1697038 w 7554913"/>
              <a:gd name="connsiteY0" fmla="*/ 0 h 4788000"/>
              <a:gd name="connsiteX1" fmla="*/ 7378379 w 7554913"/>
              <a:gd name="connsiteY1" fmla="*/ 0 h 4788000"/>
              <a:gd name="connsiteX2" fmla="*/ 7554913 w 7554913"/>
              <a:gd name="connsiteY2" fmla="*/ 176534 h 4788000"/>
              <a:gd name="connsiteX3" fmla="*/ 7554913 w 7554913"/>
              <a:gd name="connsiteY3" fmla="*/ 4611466 h 4788000"/>
              <a:gd name="connsiteX4" fmla="*/ 7378379 w 7554913"/>
              <a:gd name="connsiteY4" fmla="*/ 4788000 h 4788000"/>
              <a:gd name="connsiteX5" fmla="*/ 176534 w 7554913"/>
              <a:gd name="connsiteY5" fmla="*/ 4788000 h 4788000"/>
              <a:gd name="connsiteX6" fmla="*/ 0 w 7554913"/>
              <a:gd name="connsiteY6" fmla="*/ 4611466 h 4788000"/>
              <a:gd name="connsiteX7" fmla="*/ 0 w 7554913"/>
              <a:gd name="connsiteY7" fmla="*/ 1489211 h 4788000"/>
              <a:gd name="connsiteX8" fmla="*/ 26638 w 7554913"/>
              <a:gd name="connsiteY8" fmla="*/ 1402309 h 4788000"/>
              <a:gd name="connsiteX9" fmla="*/ 807326 w 7554913"/>
              <a:gd name="connsiteY9" fmla="*/ 937371 h 4788000"/>
              <a:gd name="connsiteX10" fmla="*/ 850924 w 7554913"/>
              <a:gd name="connsiteY10" fmla="*/ 893772 h 4788000"/>
              <a:gd name="connsiteX11" fmla="*/ 850924 w 7554913"/>
              <a:gd name="connsiteY11" fmla="*/ 639447 h 4788000"/>
              <a:gd name="connsiteX12" fmla="*/ 1360669 w 7554913"/>
              <a:gd name="connsiteY12" fmla="*/ 12872 h 4788000"/>
              <a:gd name="connsiteX13" fmla="*/ 1482160 w 7554913"/>
              <a:gd name="connsiteY13" fmla="*/ 815 h 4788000"/>
              <a:gd name="connsiteX14" fmla="*/ 1697038 w 7554913"/>
              <a:gd name="connsiteY14" fmla="*/ 815 h 47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8000">
                <a:moveTo>
                  <a:pt x="1697038" y="0"/>
                </a:moveTo>
                <a:lnTo>
                  <a:pt x="7378379" y="0"/>
                </a:lnTo>
                <a:cubicBezTo>
                  <a:pt x="7475876" y="0"/>
                  <a:pt x="7554913" y="79037"/>
                  <a:pt x="7554913" y="176534"/>
                </a:cubicBezTo>
                <a:lnTo>
                  <a:pt x="7554913" y="4611466"/>
                </a:lnTo>
                <a:cubicBezTo>
                  <a:pt x="7554913" y="4708963"/>
                  <a:pt x="7475876" y="4788000"/>
                  <a:pt x="7378379" y="4788000"/>
                </a:cubicBezTo>
                <a:lnTo>
                  <a:pt x="176534" y="4788000"/>
                </a:lnTo>
                <a:cubicBezTo>
                  <a:pt x="79037" y="4788000"/>
                  <a:pt x="0" y="4708963"/>
                  <a:pt x="0" y="4611466"/>
                </a:cubicBezTo>
                <a:lnTo>
                  <a:pt x="0" y="1489211"/>
                </a:lnTo>
                <a:lnTo>
                  <a:pt x="26638" y="1402309"/>
                </a:lnTo>
                <a:cubicBezTo>
                  <a:pt x="160159" y="1094053"/>
                  <a:pt x="469438" y="948270"/>
                  <a:pt x="807326" y="937371"/>
                </a:cubicBezTo>
                <a:cubicBezTo>
                  <a:pt x="836392" y="937371"/>
                  <a:pt x="850924" y="915573"/>
                  <a:pt x="850924" y="893772"/>
                </a:cubicBezTo>
                <a:lnTo>
                  <a:pt x="850924" y="639447"/>
                </a:lnTo>
                <a:cubicBezTo>
                  <a:pt x="850924" y="327898"/>
                  <a:pt x="1067897" y="71983"/>
                  <a:pt x="1360669" y="12872"/>
                </a:cubicBezTo>
                <a:lnTo>
                  <a:pt x="1482160" y="815"/>
                </a:lnTo>
                <a:lnTo>
                  <a:pt x="1697038" y="8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B84926-EEA3-D13A-C1FB-3FEC18A73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1464933-1F00-DED1-00C8-C81A38AE38F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62DCCF40-1773-437E-7AB4-DDD201CB4D4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489062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B729584D-3365-47B8-9AC0-24723AB0A2D0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8DB8D52-5A42-AF02-A231-C38CC50C6F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7"/>
            <a:ext cx="7554913" cy="4787900"/>
          </a:xfrm>
          <a:custGeom>
            <a:avLst/>
            <a:gdLst>
              <a:gd name="connsiteX0" fmla="*/ 176482 w 7554913"/>
              <a:gd name="connsiteY0" fmla="*/ 0 h 4787900"/>
              <a:gd name="connsiteX1" fmla="*/ 7378431 w 7554913"/>
              <a:gd name="connsiteY1" fmla="*/ 0 h 4787900"/>
              <a:gd name="connsiteX2" fmla="*/ 7554913 w 7554913"/>
              <a:gd name="connsiteY2" fmla="*/ 176482 h 4787900"/>
              <a:gd name="connsiteX3" fmla="*/ 7554913 w 7554913"/>
              <a:gd name="connsiteY3" fmla="*/ 4611418 h 4787900"/>
              <a:gd name="connsiteX4" fmla="*/ 7378431 w 7554913"/>
              <a:gd name="connsiteY4" fmla="*/ 4787900 h 4787900"/>
              <a:gd name="connsiteX5" fmla="*/ 176482 w 7554913"/>
              <a:gd name="connsiteY5" fmla="*/ 4787900 h 4787900"/>
              <a:gd name="connsiteX6" fmla="*/ 0 w 7554913"/>
              <a:gd name="connsiteY6" fmla="*/ 4611418 h 4787900"/>
              <a:gd name="connsiteX7" fmla="*/ 0 w 7554913"/>
              <a:gd name="connsiteY7" fmla="*/ 2799479 h 4787900"/>
              <a:gd name="connsiteX8" fmla="*/ 3012 w 7554913"/>
              <a:gd name="connsiteY8" fmla="*/ 2763995 h 4787900"/>
              <a:gd name="connsiteX9" fmla="*/ 415133 w 7554913"/>
              <a:gd name="connsiteY9" fmla="*/ 2402680 h 4787900"/>
              <a:gd name="connsiteX10" fmla="*/ 415133 w 7554913"/>
              <a:gd name="connsiteY10" fmla="*/ 2385217 h 4787900"/>
              <a:gd name="connsiteX11" fmla="*/ 3012 w 7554913"/>
              <a:gd name="connsiteY11" fmla="*/ 2023907 h 4787900"/>
              <a:gd name="connsiteX12" fmla="*/ 0 w 7554913"/>
              <a:gd name="connsiteY12" fmla="*/ 1988423 h 4787900"/>
              <a:gd name="connsiteX13" fmla="*/ 0 w 7554913"/>
              <a:gd name="connsiteY13" fmla="*/ 176482 h 4787900"/>
              <a:gd name="connsiteX14" fmla="*/ 176482 w 7554913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54913" h="4787900">
                <a:moveTo>
                  <a:pt x="176482" y="0"/>
                </a:moveTo>
                <a:lnTo>
                  <a:pt x="7378431" y="0"/>
                </a:lnTo>
                <a:cubicBezTo>
                  <a:pt x="7475899" y="0"/>
                  <a:pt x="7554913" y="79014"/>
                  <a:pt x="7554913" y="176482"/>
                </a:cubicBezTo>
                <a:lnTo>
                  <a:pt x="7554913" y="4611418"/>
                </a:lnTo>
                <a:cubicBezTo>
                  <a:pt x="7554913" y="4708886"/>
                  <a:pt x="7475899" y="4787900"/>
                  <a:pt x="7378431" y="4787900"/>
                </a:cubicBezTo>
                <a:lnTo>
                  <a:pt x="176482" y="4787900"/>
                </a:lnTo>
                <a:cubicBezTo>
                  <a:pt x="79014" y="4787900"/>
                  <a:pt x="0" y="4708886"/>
                  <a:pt x="0" y="4611418"/>
                </a:cubicBezTo>
                <a:lnTo>
                  <a:pt x="0" y="2799479"/>
                </a:lnTo>
                <a:lnTo>
                  <a:pt x="3012" y="2763995"/>
                </a:lnTo>
                <a:cubicBezTo>
                  <a:pt x="35433" y="2581833"/>
                  <a:pt x="179824" y="2466853"/>
                  <a:pt x="415133" y="2402680"/>
                </a:cubicBezTo>
                <a:cubicBezTo>
                  <a:pt x="425612" y="2399188"/>
                  <a:pt x="425612" y="2388709"/>
                  <a:pt x="415133" y="2385217"/>
                </a:cubicBezTo>
                <a:cubicBezTo>
                  <a:pt x="179824" y="2321043"/>
                  <a:pt x="35433" y="2206068"/>
                  <a:pt x="3012" y="2023907"/>
                </a:cubicBezTo>
                <a:lnTo>
                  <a:pt x="0" y="1988423"/>
                </a:lnTo>
                <a:lnTo>
                  <a:pt x="0" y="176482"/>
                </a:lnTo>
                <a:cubicBezTo>
                  <a:pt x="0" y="79014"/>
                  <a:pt x="79014" y="0"/>
                  <a:pt x="1764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72000" tIns="216000" rIns="72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744E32-9E6E-5A11-A7A0-D8AFCFEDB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9AF8F91-23D2-DD88-482D-7FAFF27C513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B64EB2-7F66-5CCC-3945-F5156896877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04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DFB8F13-AB38-63DB-D1F1-86B6EF73DD2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72451" y="242888"/>
            <a:ext cx="3652838" cy="5848312"/>
          </a:xfrm>
          <a:custGeom>
            <a:avLst/>
            <a:gdLst>
              <a:gd name="connsiteX0" fmla="*/ 190569 w 3652838"/>
              <a:gd name="connsiteY0" fmla="*/ 0 h 5848312"/>
              <a:gd name="connsiteX1" fmla="*/ 3462269 w 3652838"/>
              <a:gd name="connsiteY1" fmla="*/ 0 h 5848312"/>
              <a:gd name="connsiteX2" fmla="*/ 3652838 w 3652838"/>
              <a:gd name="connsiteY2" fmla="*/ 190569 h 5848312"/>
              <a:gd name="connsiteX3" fmla="*/ 3652838 w 3652838"/>
              <a:gd name="connsiteY3" fmla="*/ 5657743 h 5848312"/>
              <a:gd name="connsiteX4" fmla="*/ 3462269 w 3652838"/>
              <a:gd name="connsiteY4" fmla="*/ 5848312 h 5848312"/>
              <a:gd name="connsiteX5" fmla="*/ 190569 w 3652838"/>
              <a:gd name="connsiteY5" fmla="*/ 5848312 h 5848312"/>
              <a:gd name="connsiteX6" fmla="*/ 0 w 3652838"/>
              <a:gd name="connsiteY6" fmla="*/ 5657743 h 5848312"/>
              <a:gd name="connsiteX7" fmla="*/ 0 w 3652838"/>
              <a:gd name="connsiteY7" fmla="*/ 3402065 h 5848312"/>
              <a:gd name="connsiteX8" fmla="*/ 7373 w 3652838"/>
              <a:gd name="connsiteY8" fmla="*/ 3315183 h 5848312"/>
              <a:gd name="connsiteX9" fmla="*/ 442863 w 3652838"/>
              <a:gd name="connsiteY9" fmla="*/ 2933380 h 5848312"/>
              <a:gd name="connsiteX10" fmla="*/ 442863 w 3652838"/>
              <a:gd name="connsiteY10" fmla="*/ 2914928 h 5848312"/>
              <a:gd name="connsiteX11" fmla="*/ 7373 w 3652838"/>
              <a:gd name="connsiteY11" fmla="*/ 2533130 h 5848312"/>
              <a:gd name="connsiteX12" fmla="*/ 0 w 3652838"/>
              <a:gd name="connsiteY12" fmla="*/ 2446249 h 5848312"/>
              <a:gd name="connsiteX13" fmla="*/ 0 w 3652838"/>
              <a:gd name="connsiteY13" fmla="*/ 190569 h 5848312"/>
              <a:gd name="connsiteX14" fmla="*/ 190569 w 3652838"/>
              <a:gd name="connsiteY14" fmla="*/ 0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652838" h="5848312">
                <a:moveTo>
                  <a:pt x="190569" y="0"/>
                </a:moveTo>
                <a:lnTo>
                  <a:pt x="3462269" y="0"/>
                </a:lnTo>
                <a:cubicBezTo>
                  <a:pt x="3567517" y="0"/>
                  <a:pt x="3652838" y="85321"/>
                  <a:pt x="3652838" y="190569"/>
                </a:cubicBezTo>
                <a:lnTo>
                  <a:pt x="3652838" y="5657743"/>
                </a:lnTo>
                <a:cubicBezTo>
                  <a:pt x="3652838" y="5762991"/>
                  <a:pt x="3567517" y="5848312"/>
                  <a:pt x="3462269" y="5848312"/>
                </a:cubicBezTo>
                <a:lnTo>
                  <a:pt x="190569" y="5848312"/>
                </a:lnTo>
                <a:cubicBezTo>
                  <a:pt x="85321" y="5848312"/>
                  <a:pt x="0" y="5762991"/>
                  <a:pt x="0" y="5657743"/>
                </a:cubicBezTo>
                <a:lnTo>
                  <a:pt x="0" y="3402065"/>
                </a:lnTo>
                <a:lnTo>
                  <a:pt x="7373" y="3315183"/>
                </a:lnTo>
                <a:cubicBezTo>
                  <a:pt x="41632" y="3122692"/>
                  <a:pt x="194211" y="3001193"/>
                  <a:pt x="442863" y="2933380"/>
                </a:cubicBezTo>
                <a:cubicBezTo>
                  <a:pt x="453936" y="2929691"/>
                  <a:pt x="453936" y="2918617"/>
                  <a:pt x="442863" y="2914928"/>
                </a:cubicBezTo>
                <a:cubicBezTo>
                  <a:pt x="194211" y="2847115"/>
                  <a:pt x="41632" y="2725620"/>
                  <a:pt x="7373" y="2533130"/>
                </a:cubicBezTo>
                <a:lnTo>
                  <a:pt x="0" y="2446249"/>
                </a:lnTo>
                <a:lnTo>
                  <a:pt x="0" y="190569"/>
                </a:lnTo>
                <a:cubicBezTo>
                  <a:pt x="0" y="85321"/>
                  <a:pt x="85321" y="0"/>
                  <a:pt x="19056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576000" rIns="108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4101"/>
            <a:ext cx="7554913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5" y="5792400"/>
            <a:ext cx="7555231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102126E-B6A8-2921-6EF1-1AB371E2B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7554912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6475D3A0-2D66-AC67-134B-77A55D269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21FF2E9-41D3-FCB0-8100-2CB5AD7B063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050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C1E2B43-F98E-82F3-DBAA-FC13402D7C7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576000" bIns="72000" anchor="ctr">
            <a:noAutofit/>
          </a:bodyPr>
          <a:lstStyle>
            <a:lvl1pPr marL="0" indent="0" algn="ctr"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4101"/>
            <a:ext cx="3652839" cy="44907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1E8257-6B8C-4088-985E-4C3DCEE9DEB1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E018087B-459D-4729-B449-CCF6702E8E13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002AE1-2317-4E5A-B166-4104FA8F071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FB4A4D5-34F7-4B9E-9971-87C022586B1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D9C632-48DD-68F1-C98B-0AA2BE39A1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299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719982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1081424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1439964" indent="0">
              <a:spcBef>
                <a:spcPts val="0"/>
              </a:spcBef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08CFF33-B49E-9711-53F9-19D0CC0A1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3905250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A3CE1FB-D5F5-92E1-9D34-DB8E8889C9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39052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B91AF96-43AB-49E0-5AA2-71826DA9639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319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2100262"/>
            <a:ext cx="3652838" cy="369213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0" indent="0">
              <a:buNone/>
              <a:defRPr sz="2200"/>
            </a:lvl1pPr>
          </a:lstStyle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US" dirty="0"/>
              <a:t>If text content appears too large please reduce the size of the font.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120E7F-C0E1-48FE-9205-5741B91C8E6F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DC6169B-19DB-4994-BA6B-38503C57DC8A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FC227CF-7C01-4C8F-A012-E6EC9EFFB1B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D4743C-0184-4AE6-8901-D4C4FE13116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407D7-26D4-4453-5DC7-A7011EC7E2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5126" y="5792400"/>
            <a:ext cx="3653156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FC42DF1-9B7E-9A5C-E40E-35292FD97B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5126" y="1303338"/>
            <a:ext cx="3480970" cy="796925"/>
          </a:xfrm>
        </p:spPr>
        <p:txBody>
          <a:bodyPr lIns="0" tIns="72000" rIns="0" bIns="72000">
            <a:no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357542" indent="0">
              <a:buNone/>
              <a:defRPr/>
            </a:lvl2pPr>
            <a:lvl3pPr marL="719982" indent="0">
              <a:buNone/>
              <a:defRPr/>
            </a:lvl3pPr>
            <a:lvl4pPr marL="1081424" indent="0">
              <a:buNone/>
              <a:defRPr/>
            </a:lvl4pPr>
            <a:lvl5pPr marL="1439964" indent="0">
              <a:buNone/>
              <a:defRPr/>
            </a:lvl5pPr>
          </a:lstStyle>
          <a:p>
            <a:pPr lvl="0"/>
            <a:r>
              <a:rPr lang="en-US" dirty="0"/>
              <a:t>Click to edit subheading text</a:t>
            </a:r>
            <a:endParaRPr lang="en-GB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42A83F9-173D-2F5C-840B-653949B4C5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48179" y="1303337"/>
            <a:ext cx="7977108" cy="4787900"/>
          </a:xfrm>
          <a:custGeom>
            <a:avLst/>
            <a:gdLst>
              <a:gd name="connsiteX0" fmla="*/ 594703 w 7977108"/>
              <a:gd name="connsiteY0" fmla="*/ 0 h 4787900"/>
              <a:gd name="connsiteX1" fmla="*/ 7804600 w 7977108"/>
              <a:gd name="connsiteY1" fmla="*/ 0 h 4787900"/>
              <a:gd name="connsiteX2" fmla="*/ 7977108 w 7977108"/>
              <a:gd name="connsiteY2" fmla="*/ 172508 h 4787900"/>
              <a:gd name="connsiteX3" fmla="*/ 7977108 w 7977108"/>
              <a:gd name="connsiteY3" fmla="*/ 4615392 h 4787900"/>
              <a:gd name="connsiteX4" fmla="*/ 7804600 w 7977108"/>
              <a:gd name="connsiteY4" fmla="*/ 4787900 h 4787900"/>
              <a:gd name="connsiteX5" fmla="*/ 594703 w 7977108"/>
              <a:gd name="connsiteY5" fmla="*/ 4787900 h 4787900"/>
              <a:gd name="connsiteX6" fmla="*/ 422195 w 7977108"/>
              <a:gd name="connsiteY6" fmla="*/ 4615392 h 4787900"/>
              <a:gd name="connsiteX7" fmla="*/ 422195 w 7977108"/>
              <a:gd name="connsiteY7" fmla="*/ 1002316 h 4787900"/>
              <a:gd name="connsiteX8" fmla="*/ 419981 w 7977108"/>
              <a:gd name="connsiteY8" fmla="*/ 976226 h 4787900"/>
              <a:gd name="connsiteX9" fmla="*/ 7859 w 7977108"/>
              <a:gd name="connsiteY9" fmla="*/ 614915 h 4787900"/>
              <a:gd name="connsiteX10" fmla="*/ 7859 w 7977108"/>
              <a:gd name="connsiteY10" fmla="*/ 597453 h 4787900"/>
              <a:gd name="connsiteX11" fmla="*/ 419981 w 7977108"/>
              <a:gd name="connsiteY11" fmla="*/ 236137 h 4787900"/>
              <a:gd name="connsiteX12" fmla="*/ 422195 w 7977108"/>
              <a:gd name="connsiteY12" fmla="*/ 210041 h 4787900"/>
              <a:gd name="connsiteX13" fmla="*/ 422195 w 7977108"/>
              <a:gd name="connsiteY13" fmla="*/ 172508 h 4787900"/>
              <a:gd name="connsiteX14" fmla="*/ 594703 w 7977108"/>
              <a:gd name="connsiteY14" fmla="*/ 0 h 478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77108" h="4787900">
                <a:moveTo>
                  <a:pt x="594703" y="0"/>
                </a:moveTo>
                <a:lnTo>
                  <a:pt x="7804600" y="0"/>
                </a:lnTo>
                <a:cubicBezTo>
                  <a:pt x="7899874" y="0"/>
                  <a:pt x="7977108" y="77234"/>
                  <a:pt x="7977108" y="172508"/>
                </a:cubicBezTo>
                <a:lnTo>
                  <a:pt x="7977108" y="4615392"/>
                </a:lnTo>
                <a:cubicBezTo>
                  <a:pt x="7977108" y="4710666"/>
                  <a:pt x="7899874" y="4787900"/>
                  <a:pt x="7804600" y="4787900"/>
                </a:cubicBezTo>
                <a:lnTo>
                  <a:pt x="594703" y="4787900"/>
                </a:lnTo>
                <a:cubicBezTo>
                  <a:pt x="499429" y="4787900"/>
                  <a:pt x="422195" y="4710666"/>
                  <a:pt x="422195" y="4615392"/>
                </a:cubicBezTo>
                <a:lnTo>
                  <a:pt x="422195" y="1002316"/>
                </a:lnTo>
                <a:lnTo>
                  <a:pt x="419981" y="976226"/>
                </a:lnTo>
                <a:cubicBezTo>
                  <a:pt x="387560" y="794064"/>
                  <a:pt x="243169" y="679089"/>
                  <a:pt x="7859" y="614915"/>
                </a:cubicBezTo>
                <a:cubicBezTo>
                  <a:pt x="-2620" y="611423"/>
                  <a:pt x="-2620" y="600944"/>
                  <a:pt x="7859" y="597453"/>
                </a:cubicBezTo>
                <a:cubicBezTo>
                  <a:pt x="243169" y="533278"/>
                  <a:pt x="387560" y="418299"/>
                  <a:pt x="419981" y="236137"/>
                </a:cubicBezTo>
                <a:lnTo>
                  <a:pt x="422195" y="210041"/>
                </a:lnTo>
                <a:lnTo>
                  <a:pt x="422195" y="172508"/>
                </a:lnTo>
                <a:cubicBezTo>
                  <a:pt x="422195" y="77234"/>
                  <a:pt x="499429" y="0"/>
                  <a:pt x="59470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00000" tIns="216000" rIns="540000" bIns="72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</a:t>
            </a:r>
            <a:r>
              <a:rPr lang="en-GB" dirty="0"/>
              <a:t>]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E92BEDA-CC1A-B239-4AEA-C3F37E214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750812B-2C47-57D4-77B8-4674E64952E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DE5D052-D1E8-918C-87BF-6E3142B87FE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55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DC8841-B149-2334-AF59-5558F485A757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4C205A4-821A-253A-297E-0360320A4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D015E68-9B94-B2B9-2F33-1D9732CC14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58F29C9-8F7E-1D4B-3005-616565FA7753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DF7007A-5965-5814-8FF8-29077566CB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0700" y="5010784"/>
            <a:ext cx="11150600" cy="548009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to enter presentation tit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F6A64F09-F5D8-B6EE-7ED5-2B69A4668CD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0700" y="5558794"/>
            <a:ext cx="11150600" cy="47520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ubtitle / presenter nam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D62EFE5-F00A-570F-E85D-A9685EA9184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44399" y="2100263"/>
            <a:ext cx="5303202" cy="159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3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303338"/>
            <a:ext cx="560228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1303338"/>
            <a:ext cx="5602288" cy="2049077"/>
          </a:xfrm>
          <a:prstGeom prst="roundRect">
            <a:avLst>
              <a:gd name="adj" fmla="val 85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223001" y="3383480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223001" y="3713345"/>
            <a:ext cx="5602288" cy="2048029"/>
          </a:xfrm>
          <a:prstGeom prst="roundRect">
            <a:avLst>
              <a:gd name="adj" fmla="val 849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Autofit/>
          </a:bodyPr>
          <a:lstStyle>
            <a:lvl1pPr marL="0" indent="0" algn="ctr">
              <a:buNone/>
              <a:defRPr sz="16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</a:t>
            </a:r>
            <a:br>
              <a:rPr lang="en-US" dirty="0"/>
            </a:br>
            <a:r>
              <a:rPr lang="en-US" dirty="0"/>
              <a:t>using the ‘Crop’ feature in the ‘Picture Format’ tab </a:t>
            </a:r>
            <a:br>
              <a:rPr lang="en-US" dirty="0"/>
            </a:br>
            <a:r>
              <a:rPr lang="en-US" dirty="0"/>
              <a:t>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3001" y="5792438"/>
            <a:ext cx="5602287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D35EAFE1-FE5F-44CC-825D-16EBF058F4AD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6A279A2-5C44-FF2E-B384-6E6E2D4B3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AA0BC10E-676C-5CAF-16CC-96A54F223F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3C5935EB-46DA-41B4-C62C-331192886E84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2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303338"/>
            <a:ext cx="3652838" cy="4785927"/>
          </a:xfrm>
          <a:prstGeom prst="rect">
            <a:avLst/>
          </a:prstGeom>
        </p:spPr>
        <p:txBody>
          <a:bodyPr lIns="0" tIns="180000" rIns="0" bIns="180000">
            <a:noAutofit/>
          </a:bodyPr>
          <a:lstStyle>
            <a:lvl1pPr marL="359991" indent="-359991">
              <a:buClr>
                <a:schemeClr val="tx2"/>
              </a:buClr>
              <a:buFont typeface="Arial" panose="020B0604020202020204" pitchFamily="34" charset="0"/>
              <a:buChar char="•"/>
              <a:defRPr/>
            </a:lvl1pPr>
            <a:lvl2pPr marL="71753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2pPr>
            <a:lvl3pPr marL="1079973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3pPr>
            <a:lvl4pPr marL="144141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4pPr>
            <a:lvl5pPr marL="1799955" indent="-359991">
              <a:buClr>
                <a:schemeClr val="tx1"/>
              </a:buClr>
              <a:buFont typeface="Arial" panose="020B0604020202020204" pitchFamily="34" charset="0"/>
              <a:buChar char="-"/>
              <a:defRPr/>
            </a:lvl5pPr>
          </a:lstStyle>
          <a:p>
            <a:pPr lvl="0"/>
            <a:r>
              <a:rPr lang="en-GB" dirty="0"/>
              <a:t>Click to enter text content. </a:t>
            </a:r>
            <a:r>
              <a:rPr lang="en-US" dirty="0"/>
              <a:t>If text content appears too large please reduce the size of the font.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270375" y="1303338"/>
            <a:ext cx="3649663" cy="4471820"/>
          </a:xfrm>
          <a:prstGeom prst="roundRect">
            <a:avLst>
              <a:gd name="adj" fmla="val 4843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rm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270376" y="5790465"/>
            <a:ext cx="3650970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8172450" y="1303338"/>
            <a:ext cx="3650400" cy="4471200"/>
          </a:xfrm>
          <a:prstGeom prst="roundRect">
            <a:avLst>
              <a:gd name="adj" fmla="val 508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180000" rIns="0" bIns="72000" anchor="ctr">
            <a:normAutofit/>
          </a:bodyPr>
          <a:lstStyle>
            <a:lvl1pPr marL="0" indent="0" algn="ctr">
              <a:buNone/>
              <a:defRPr sz="1800" i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Click here to insert image]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[</a:t>
            </a:r>
            <a:r>
              <a:rPr lang="en-US" dirty="0"/>
              <a:t>The image can then be scaled within the frame by using the ‘Crop’ feature in the ‘Picture Format’ tab of the ribbon. Right click on image to add/edit alt text]</a:t>
            </a:r>
            <a:endParaRPr lang="en-GB" dirty="0"/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172450" y="5792438"/>
            <a:ext cx="3652838" cy="298800"/>
          </a:xfrm>
          <a:prstGeom prst="rect">
            <a:avLst/>
          </a:prstGeom>
        </p:spPr>
        <p:txBody>
          <a:bodyPr lIns="0" tIns="72000" rIns="0" bIns="72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357542" indent="0">
              <a:buNone/>
              <a:defRPr sz="1067">
                <a:solidFill>
                  <a:schemeClr val="bg2"/>
                </a:solidFill>
              </a:defRPr>
            </a:lvl2pPr>
            <a:lvl3pPr marL="719982" indent="0">
              <a:buNone/>
              <a:defRPr sz="1067">
                <a:solidFill>
                  <a:schemeClr val="bg2"/>
                </a:solidFill>
              </a:defRPr>
            </a:lvl3pPr>
            <a:lvl4pPr marL="1081424" indent="0">
              <a:buNone/>
              <a:defRPr sz="1067">
                <a:solidFill>
                  <a:schemeClr val="bg2"/>
                </a:solidFill>
              </a:defRPr>
            </a:lvl4pPr>
            <a:lvl5pPr marL="1439964" indent="0">
              <a:buNone/>
              <a:defRPr sz="1067"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Insert Source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 algn="r">
              <a:defRPr/>
            </a:lvl1pPr>
          </a:lstStyle>
          <a:p>
            <a:fld id="{B03DE9E3-FCC4-44C9-9C9C-3C907C61E776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2258698-286C-88FD-70CB-ECDC7EEF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D5C8553-9D06-642B-D0A0-1E6DF4F5CE6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C8E6EBF-1077-88CA-250A-BC3D173D6251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7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11AFB533-57EF-4766-9D87-DAD3C67F4A40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5125" y="5792400"/>
            <a:ext cx="11460163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2E2FA657-3A41-6C8A-7C73-5FF4D5761F76}"/>
              </a:ext>
            </a:extLst>
          </p:cNvPr>
          <p:cNvSpPr>
            <a:spLocks noGrp="1"/>
          </p:cNvSpPr>
          <p:nvPr>
            <p:ph type="tbl" sz="quarter" idx="34" hasCustomPrompt="1"/>
          </p:nvPr>
        </p:nvSpPr>
        <p:spPr>
          <a:xfrm>
            <a:off x="365119" y="1303338"/>
            <a:ext cx="11459625" cy="4489450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ABLE icon to insert table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A4EB32-D948-C409-F1E5-9F712310D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E30107F-6B57-65E7-BD35-CCB493B8D6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F611BFB-31C6-6656-90B9-BB1C81967B2F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9827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CB5633-6431-4284-9ADB-4E615125888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84741D83-B006-4893-8541-66BA34E08C4B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C4D40-638F-40AA-882E-9A6164C7956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23E44AE-F798-4C55-8F91-872E4A73792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8B3A39-D8B7-A2C0-89DB-5314F345D35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6713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8994D5C1-7836-1E91-87FA-56E472221EB3}"/>
              </a:ext>
            </a:extLst>
          </p:cNvPr>
          <p:cNvSpPr>
            <a:spLocks noGrp="1"/>
          </p:cNvSpPr>
          <p:nvPr>
            <p:ph type="chart" sz="quarter" idx="34" hasCustomPrompt="1"/>
          </p:nvPr>
        </p:nvSpPr>
        <p:spPr>
          <a:xfrm>
            <a:off x="365125" y="1303338"/>
            <a:ext cx="11460163" cy="4489062"/>
          </a:xfrm>
        </p:spPr>
        <p:txBody>
          <a:bodyPr lIns="0" rIns="0">
            <a:noAutofit/>
          </a:bodyPr>
          <a:lstStyle>
            <a:lvl1pPr>
              <a:defRPr/>
            </a:lvl1pPr>
          </a:lstStyle>
          <a:p>
            <a:r>
              <a:rPr lang="en-GB" dirty="0"/>
              <a:t>Click CHART icons to insert chart.</a:t>
            </a:r>
            <a:br>
              <a:rPr lang="en-GB" dirty="0"/>
            </a:br>
            <a:r>
              <a:rPr lang="en-US" dirty="0"/>
              <a:t>Please ensure your chart title, legend, x and y axis titles are minimum 12 </a:t>
            </a:r>
            <a:r>
              <a:rPr lang="en-US" dirty="0" err="1"/>
              <a:t>pt</a:t>
            </a:r>
            <a:r>
              <a:rPr lang="en-US" dirty="0"/>
              <a:t>, Arial black for accessibility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CEE79-8221-4C6C-2397-0791C954A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091ECF0-259D-F144-9708-B8296C87B0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3FC0E92-53E2-6353-15B7-7028E9E80A82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748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E57A6D-CCB0-DF2D-0D9A-6184CE3969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42BDB7-A7FE-AA4E-3952-EBCCAC237C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6D6505-B9A2-3A36-B9B6-3E3CF07A64A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3924AB-56D4-343D-306B-195A924E9E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484351E-5906-1465-ED52-DA75D3630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BDBB70-10FD-DDED-C062-9AA9276564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BDFC7D-EB75-1C71-FBB6-74679DF5FB23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41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di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DFB0EC8B-993B-9701-B3D4-2FBFA2652A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B7B165-5683-4F5F-9FF2-907EF7B970C8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4B64CB0-473B-DCCB-4EF6-AD259672723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70C223B-EC3F-01A9-ECD3-7E6A591C40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3466546-C07E-BFBF-4B2F-E4D299013F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4800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F5241F-6CBA-AE82-8AEE-138E90E20F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7328" t="12162" r="1499" b="12843"/>
          <a:stretch/>
        </p:blipFill>
        <p:spPr>
          <a:xfrm>
            <a:off x="219299" y="6191252"/>
            <a:ext cx="1215582" cy="56380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70C54E86-8E74-E1E1-9919-BF95D8B21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936C739-784E-0B16-D78E-DAACEC459B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8BE41CA-ABEC-55CB-D62E-31831DAD300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72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0C3EA56-5111-4037-9D95-99472C98B3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F44B5-6D56-4B59-9C1D-2022F9BFF5DA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CE7BCF-23E0-421B-8A21-1CDDB1673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1F21D1-F1DD-4945-8EF8-43393EDC3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A2858F-078E-2E59-C8A6-5102082DA34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5792400"/>
            <a:ext cx="11460164" cy="298800"/>
          </a:xfrm>
        </p:spPr>
        <p:txBody>
          <a:bodyPr lIns="0" tIns="72000" rIns="0" bIns="72000" anchor="b">
            <a:noAutofit/>
          </a:bodyPr>
          <a:lstStyle>
            <a:lvl1pPr marL="0" indent="0">
              <a:buNone/>
              <a:defRPr sz="1200"/>
            </a:lvl1pPr>
            <a:lvl2pPr marL="357542" indent="0">
              <a:buNone/>
              <a:defRPr sz="1000"/>
            </a:lvl2pPr>
            <a:lvl3pPr marL="719982" indent="0">
              <a:buNone/>
              <a:defRPr sz="1000"/>
            </a:lvl3pPr>
            <a:lvl4pPr marL="1081424" indent="0">
              <a:buNone/>
              <a:defRPr sz="1000"/>
            </a:lvl4pPr>
            <a:lvl5pPr marL="1439964" indent="0">
              <a:buNone/>
              <a:defRPr sz="1000"/>
            </a:lvl5pPr>
          </a:lstStyle>
          <a:p>
            <a:pPr lvl="0"/>
            <a:r>
              <a:rPr lang="en-US" dirty="0"/>
              <a:t>Insert Source text</a:t>
            </a:r>
          </a:p>
        </p:txBody>
      </p:sp>
    </p:spTree>
    <p:extLst>
      <p:ext uri="{BB962C8B-B14F-4D97-AF65-F5344CB8AC3E}">
        <p14:creationId xmlns:p14="http://schemas.microsoft.com/office/powerpoint/2010/main" val="144822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F7EFD61-0B79-2619-1483-7B804B2C82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11460163" cy="1260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BBC9BD8C-031D-7F0A-C46B-D38FB01367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11460164" cy="47520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tx2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B01FA46-1D8D-93AD-9A24-7740D438F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7175" y="5967611"/>
            <a:ext cx="1401150" cy="42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6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905DD1F-ADCE-21F5-3B42-348B73562E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5" y="3235800"/>
            <a:ext cx="8651875" cy="1260000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nter section head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A65F606-CDCB-0367-61AA-199FECCB3A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4514654"/>
            <a:ext cx="8651876" cy="475200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800" i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ection sub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E066BEF-B097-8826-7B68-974384A3DA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3772" t="25173" r="16016" b="28870"/>
          <a:stretch/>
        </p:blipFill>
        <p:spPr>
          <a:xfrm>
            <a:off x="322824" y="5861243"/>
            <a:ext cx="1586940" cy="58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5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1B20AFD6-6925-491B-B024-5E0A32A58D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7590" t="25173" r="17185" b="31039"/>
          <a:stretch/>
        </p:blipFill>
        <p:spPr>
          <a:xfrm>
            <a:off x="152399" y="2073890"/>
            <a:ext cx="11992273" cy="453963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B90B266-F3BD-2613-5CB9-7E4A4FDFC416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rgbClr val="FFFFFF"/>
                </a:solidFill>
                <a:latin typeface="+mn-lt"/>
              </a:rPr>
              <a:t>gsk.com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FF8659A8-C764-F3A5-40B7-A3CB7A35D23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93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I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A717EDF-9AA4-491F-3311-9F14A5CFB89C}"/>
              </a:ext>
            </a:extLst>
          </p:cNvPr>
          <p:cNvSpPr/>
          <p:nvPr userDrawn="1"/>
        </p:nvSpPr>
        <p:spPr bwMode="auto">
          <a:xfrm>
            <a:off x="523973" y="6107998"/>
            <a:ext cx="1806576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4AC67F3-7D0E-A071-327B-17B446179DB8}"/>
              </a:ext>
            </a:extLst>
          </p:cNvPr>
          <p:cNvSpPr/>
          <p:nvPr userDrawn="1"/>
        </p:nvSpPr>
        <p:spPr bwMode="auto">
          <a:xfrm>
            <a:off x="523973" y="4557510"/>
            <a:ext cx="1806576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E30BA3B-88CD-41DE-E089-7100E3E52A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07432" y="4557510"/>
            <a:ext cx="9414362" cy="14736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180000" bIns="72000" anchor="t" anchorCtr="0">
            <a:norm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DC6E06B6-BD9A-7A5E-5A90-56308009FF5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7432" y="6107998"/>
            <a:ext cx="9414362" cy="5055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72000" rIns="180000" bIns="72000" anchor="ctr" anchorCtr="0">
            <a:normAutofit/>
          </a:bodyPr>
          <a:lstStyle>
            <a:lvl1pPr marL="0" indent="0"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23973" y="4990763"/>
            <a:ext cx="1806576" cy="1040352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683597-5ADE-F2A0-A01C-FD8E476ABB8B}"/>
              </a:ext>
            </a:extLst>
          </p:cNvPr>
          <p:cNvSpPr/>
          <p:nvPr userDrawn="1"/>
        </p:nvSpPr>
        <p:spPr>
          <a:xfrm>
            <a:off x="0" y="4842854"/>
            <a:ext cx="426190" cy="902918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65F316B-6E9C-D66E-FE22-B16477918817}"/>
              </a:ext>
            </a:extLst>
          </p:cNvPr>
          <p:cNvSpPr/>
          <p:nvPr userDrawn="1"/>
        </p:nvSpPr>
        <p:spPr bwMode="auto">
          <a:xfrm>
            <a:off x="11039475" y="164305"/>
            <a:ext cx="862012" cy="31750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None/>
            </a:pPr>
            <a:r>
              <a:rPr lang="en-GB" sz="1000" b="1" kern="0" dirty="0">
                <a:solidFill>
                  <a:schemeClr val="tx2"/>
                </a:solidFill>
                <a:latin typeface="+mn-lt"/>
              </a:rPr>
              <a:t>gsk.com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7E4B35B0-1B56-815F-BA6C-0E89CBE6AA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94470" y="243283"/>
            <a:ext cx="159543" cy="159543"/>
          </a:xfrm>
          <a:prstGeom prst="rect">
            <a:avLst/>
          </a:prstGeom>
        </p:spPr>
      </p:pic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A99F019-A435-B954-ABA9-68CA4DD19B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01650" y="230188"/>
            <a:ext cx="1817688" cy="163512"/>
          </a:xfrm>
        </p:spPr>
        <p:txBody>
          <a:bodyPr lIns="0" tIns="72000" rIns="0" bIns="72000" anchor="ctr">
            <a:noAutofit/>
          </a:bodyPr>
          <a:lstStyle>
            <a:lvl1pPr marL="0" indent="0">
              <a:buNone/>
              <a:defRPr sz="1000" b="1">
                <a:solidFill>
                  <a:schemeClr val="tx2"/>
                </a:solidFill>
              </a:defRPr>
            </a:lvl1pPr>
            <a:lvl2pPr marL="357542" indent="0">
              <a:buNone/>
              <a:defRPr>
                <a:solidFill>
                  <a:schemeClr val="bg1"/>
                </a:solidFill>
              </a:defRPr>
            </a:lvl2pPr>
            <a:lvl3pPr marL="719982" indent="0">
              <a:buNone/>
              <a:defRPr>
                <a:solidFill>
                  <a:schemeClr val="bg1"/>
                </a:solidFill>
              </a:defRPr>
            </a:lvl3pPr>
            <a:lvl4pPr marL="1081424" indent="0">
              <a:buNone/>
              <a:defRPr>
                <a:solidFill>
                  <a:schemeClr val="bg1"/>
                </a:solidFill>
              </a:defRPr>
            </a:lvl4pPr>
            <a:lvl5pPr marL="143996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dat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8B53D05A-F4B0-150E-FE9F-AB4DED26676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44399" y="2100263"/>
            <a:ext cx="5303202" cy="159861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0183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ARNIN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B03810C-0168-8013-6BD1-DF4493DB8F41}"/>
              </a:ext>
            </a:extLst>
          </p:cNvPr>
          <p:cNvSpPr/>
          <p:nvPr userDrawn="1"/>
        </p:nvSpPr>
        <p:spPr bwMode="auto">
          <a:xfrm>
            <a:off x="242888" y="242888"/>
            <a:ext cx="11704637" cy="584835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180000" rIns="180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GB" sz="9600" kern="0" dirty="0">
                <a:solidFill>
                  <a:schemeClr val="bg1"/>
                </a:solidFill>
              </a:rPr>
              <a:t>Do not use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layouts that appear </a:t>
            </a:r>
            <a:br>
              <a:rPr lang="en-GB" sz="9600" kern="0" dirty="0">
                <a:solidFill>
                  <a:schemeClr val="bg1"/>
                </a:solidFill>
              </a:rPr>
            </a:br>
            <a:r>
              <a:rPr lang="en-GB" sz="9600" kern="0" dirty="0">
                <a:solidFill>
                  <a:schemeClr val="bg1"/>
                </a:solidFill>
              </a:rPr>
              <a:t>after this poin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FE542C-8ECE-F9C9-8F96-80B2751FAA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328" t="12162" r="1499" b="12843"/>
          <a:stretch/>
        </p:blipFill>
        <p:spPr>
          <a:xfrm>
            <a:off x="90711" y="6207919"/>
            <a:ext cx="1215582" cy="56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1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/SPAD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0AC59E1C-A015-4BA4-AB7D-EC00F37B815F}"/>
              </a:ext>
            </a:extLst>
          </p:cNvPr>
          <p:cNvSpPr/>
          <p:nvPr userDrawn="1"/>
        </p:nvSpPr>
        <p:spPr bwMode="auto">
          <a:xfrm>
            <a:off x="365126" y="1307574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bjectiv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EBA022-30B3-B17F-5D7C-3A3D869D35FA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2778690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Key question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F5A742C-A049-77AC-C2E5-4272D118CC96}"/>
              </a:ext>
            </a:extLst>
          </p:cNvPr>
          <p:cNvSpPr>
            <a:spLocks/>
          </p:cNvSpPr>
          <p:nvPr userDrawn="1"/>
        </p:nvSpPr>
        <p:spPr bwMode="auto">
          <a:xfrm>
            <a:off x="365126" y="4249806"/>
            <a:ext cx="1806576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2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Next step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6507E6-44A7-B4B5-33F1-9F0C0DC0FDE1}"/>
              </a:ext>
            </a:extLst>
          </p:cNvPr>
          <p:cNvSpPr/>
          <p:nvPr userDrawn="1"/>
        </p:nvSpPr>
        <p:spPr bwMode="auto">
          <a:xfrm>
            <a:off x="365126" y="5720922"/>
            <a:ext cx="1806576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600" b="1" dirty="0">
                <a:solidFill>
                  <a:schemeClr val="tx2"/>
                </a:solidFill>
              </a:rPr>
              <a:t>Own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773ECA-2D04-B6E9-1FB4-377F08AA5D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976886-926E-8975-E95D-5BCD6F82EE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5E9B4D-B613-11AE-72F8-5A0C3EBFD95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46B58B4-0D72-4C8B-9355-854FB5782278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BB6F2-78D4-BCC3-D950-5FAF7FCB8F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126" y="242888"/>
            <a:ext cx="7554912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opic / paper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A46E8B4-4C83-8DD1-80BB-CC03BD24AF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7554913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E19B5E4-F2A8-7F44-855D-F41DDE3B3D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72450" y="694948"/>
            <a:ext cx="3649661" cy="352801"/>
          </a:xfrm>
        </p:spPr>
        <p:txBody>
          <a:bodyPr lIns="0" tIns="0" rIns="0" bIns="18000" anchor="b" anchorCtr="0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insert date of session 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472F201F-277F-F24E-085D-8160B5FF4C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5126" y="1777158"/>
            <a:ext cx="1695450" cy="926921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clear, focused objectives </a:t>
            </a:r>
            <a:br>
              <a:rPr lang="en-US" dirty="0"/>
            </a:br>
            <a:r>
              <a:rPr lang="en-US" dirty="0"/>
              <a:t>(</a:t>
            </a:r>
            <a:r>
              <a:rPr lang="en-US" dirty="0" err="1"/>
              <a:t>i</a:t>
            </a:r>
            <a:r>
              <a:rPr lang="en-US" dirty="0"/>
              <a:t>) for decision, </a:t>
            </a:r>
            <a:br>
              <a:rPr lang="en-US" dirty="0"/>
            </a:br>
            <a:r>
              <a:rPr lang="en-US" dirty="0"/>
              <a:t>(ii) for input </a:t>
            </a:r>
            <a:br>
              <a:rPr lang="en-US" dirty="0"/>
            </a:br>
            <a:r>
              <a:rPr lang="en-US" dirty="0"/>
              <a:t>(iii) for awarenes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D6FC89-B057-E6C5-C8EA-1FC8CB31B6CA}"/>
              </a:ext>
            </a:extLst>
          </p:cNvPr>
          <p:cNvSpPr/>
          <p:nvPr userDrawn="1"/>
        </p:nvSpPr>
        <p:spPr bwMode="auto">
          <a:xfrm>
            <a:off x="8172450" y="242888"/>
            <a:ext cx="3654425" cy="452059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5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 eaLnBrk="0" fontAlgn="auto" hangingPunct="0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</a:pPr>
            <a:r>
              <a:rPr lang="en-US" sz="1800" b="1" kern="0" dirty="0">
                <a:solidFill>
                  <a:schemeClr val="tx2"/>
                </a:solidFill>
              </a:rPr>
              <a:t>Session date: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B166E02B-F260-FEAF-DDEB-67922AA11E6E}"/>
              </a:ext>
            </a:extLst>
          </p:cNvPr>
          <p:cNvSpPr>
            <a:spLocks noGrp="1"/>
          </p:cNvSpPr>
          <p:nvPr userDrawn="1">
            <p:ph type="body" sz="quarter" idx="37" hasCustomPrompt="1"/>
          </p:nvPr>
        </p:nvSpPr>
        <p:spPr>
          <a:xfrm>
            <a:off x="365126" y="3337172"/>
            <a:ext cx="1695450" cy="838023"/>
          </a:xfrm>
          <a:prstGeom prst="rect">
            <a:avLst/>
          </a:prstGeom>
          <a:noFill/>
          <a:ln>
            <a:noFill/>
          </a:ln>
        </p:spPr>
        <p:txBody>
          <a:bodyPr lIns="72000" tIns="0" rIns="0" bIns="0" anchor="ctr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+mj-lt"/>
              <a:buNone/>
              <a:defRPr sz="1200">
                <a:solidFill>
                  <a:schemeClr val="bg2"/>
                </a:solidFill>
              </a:defRPr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Up to 5 key questions to be addressed at the meeting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9EA22563-2363-AB1F-DC9F-7A5457933645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82C5C591-14F5-449A-187A-1D9A683E96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260405" y="1307574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rm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ECISION: To seek X’s [single point accountable decision maker] decision to implement A</a:t>
            </a:r>
            <a:br>
              <a:rPr lang="en-US" dirty="0"/>
            </a:br>
            <a:r>
              <a:rPr lang="en-US" dirty="0"/>
              <a:t>INPUT: To receive input to the proposed plan for B</a:t>
            </a:r>
            <a:br>
              <a:rPr lang="en-US" dirty="0"/>
            </a:br>
            <a:r>
              <a:rPr lang="en-US" dirty="0"/>
              <a:t>AWARENESS: To update XXX regarding C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54077D3A-2E14-68B6-5E16-413475F36C3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260405" y="2778690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rm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Does XXX have further input on the proposals set out or require additional information?</a:t>
            </a:r>
            <a:br>
              <a:rPr lang="en-US" dirty="0"/>
            </a:br>
            <a:r>
              <a:rPr lang="en-US" dirty="0"/>
              <a:t>Is XXX supportive of the recommendation to x, y, z?</a:t>
            </a:r>
            <a:br>
              <a:rPr lang="en-US" dirty="0"/>
            </a:br>
            <a:r>
              <a:rPr lang="en-US" dirty="0"/>
              <a:t>Does XXX support the approach outlined to x, y, z?</a:t>
            </a:r>
          </a:p>
        </p:txBody>
      </p: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5DE7D720-AF89-6DE4-D2E5-33C7B01B7E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60405" y="4249806"/>
            <a:ext cx="9557738" cy="1396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144000" rIns="0" bIns="72000" anchor="t" anchorCtr="0">
            <a:normAutofit/>
          </a:bodyPr>
          <a:lstStyle>
            <a:lvl1pPr marL="342900" indent="-342900">
              <a:spcBef>
                <a:spcPts val="300"/>
              </a:spcBef>
              <a:spcAft>
                <a:spcPts val="300"/>
              </a:spcAft>
              <a:buSzPct val="100000"/>
              <a:buFont typeface="+mj-lt"/>
              <a:buAutoNum type="arabicPeriod"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Key steps following XXX review / decision</a:t>
            </a:r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8C53FB3B-975B-80D5-29B3-81DC27DCAC8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260405" y="5720922"/>
            <a:ext cx="9557738" cy="3633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80000" tIns="36000" rIns="0" bIns="36000" anchor="ctr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None/>
              <a:defRPr sz="1200"/>
            </a:lvl1pPr>
            <a:lvl2pPr marL="357542" indent="0">
              <a:buNone/>
              <a:defRPr/>
            </a:lvl2pPr>
          </a:lstStyle>
          <a:p>
            <a:pPr lvl="0"/>
            <a:r>
              <a:rPr lang="en-US" dirty="0"/>
              <a:t>Single person accountable for this topic / pap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2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000430-8A32-4EA0-BAD1-A7727B812F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2794-638D-4328-B0BC-C610FB243ADC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06E0BB-62AD-47AF-909C-4F33FB5616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3CEE5C-8451-457A-BD36-F438731DB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1071252-BD8E-4D3D-BF35-8427544DD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3176" y="242888"/>
            <a:ext cx="6712112" cy="5848350"/>
          </a:xfrm>
        </p:spPr>
        <p:txBody>
          <a:bodyPr lIns="0" tIns="180000" rIns="0" bIns="180000" anchor="t">
            <a:noAutofit/>
          </a:bodyPr>
          <a:lstStyle>
            <a:lvl1pPr marL="720000" indent="-72000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2800"/>
            </a:lvl1pPr>
            <a:lvl2pPr marL="814742" indent="-457200">
              <a:buClr>
                <a:schemeClr val="tx2"/>
              </a:buClr>
              <a:buFont typeface="+mj-lt"/>
              <a:buAutoNum type="arabicPeriod"/>
              <a:defRPr/>
            </a:lvl2pPr>
            <a:lvl3pPr marL="1177182" indent="-457200">
              <a:buClr>
                <a:schemeClr val="tx2"/>
              </a:buClr>
              <a:buFont typeface="+mj-lt"/>
              <a:buAutoNum type="arabicPeriod"/>
              <a:defRPr/>
            </a:lvl3pPr>
            <a:lvl4pPr>
              <a:buClr>
                <a:schemeClr val="tx2"/>
              </a:buClr>
              <a:buFont typeface="+mj-lt"/>
              <a:buAutoNum type="arabicPeriod"/>
              <a:defRPr/>
            </a:lvl4pPr>
            <a:lvl5pPr>
              <a:buClr>
                <a:schemeClr val="tx2"/>
              </a:buClr>
              <a:buFont typeface="+mj-lt"/>
              <a:buAutoNum type="arabicPeriod"/>
              <a:defRPr/>
            </a:lvl5pPr>
          </a:lstStyle>
          <a:p>
            <a:pPr lvl="0"/>
            <a:r>
              <a:rPr lang="en-GB" dirty="0"/>
              <a:t>Agenda point 1, add text here.</a:t>
            </a:r>
            <a:br>
              <a:rPr lang="en-GB" dirty="0"/>
            </a:br>
            <a:r>
              <a:rPr lang="en-GB" dirty="0"/>
              <a:t>Agenda point 2, add text here.</a:t>
            </a:r>
            <a:br>
              <a:rPr lang="en-GB" dirty="0"/>
            </a:br>
            <a:r>
              <a:rPr lang="en-GB" dirty="0"/>
              <a:t>Agenda point 3, add text here.</a:t>
            </a:r>
            <a:br>
              <a:rPr lang="en-GB" dirty="0"/>
            </a:br>
            <a:r>
              <a:rPr lang="en-GB" dirty="0"/>
              <a:t>Agenda point 4, add text here.</a:t>
            </a:r>
            <a:br>
              <a:rPr lang="en-GB" dirty="0"/>
            </a:br>
            <a:r>
              <a:rPr lang="en-GB" dirty="0"/>
              <a:t>Agenda point 5, add text here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630E13A-9E76-B161-1416-CBE84BD2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4748050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202868D-ACDF-6434-3575-872690D6A7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4748050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674B05C-AADA-DE64-7CCE-6E374DE8A94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47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DD48070-D695-60C2-898C-9832D9369B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11162"/>
            <a:ext cx="11460164" cy="4484800"/>
          </a:xfrm>
          <a:custGeom>
            <a:avLst/>
            <a:gdLst>
              <a:gd name="connsiteX0" fmla="*/ 185682 w 11460164"/>
              <a:gd name="connsiteY0" fmla="*/ 0 h 4484800"/>
              <a:gd name="connsiteX1" fmla="*/ 11274482 w 11460164"/>
              <a:gd name="connsiteY1" fmla="*/ 0 h 4484800"/>
              <a:gd name="connsiteX2" fmla="*/ 11460164 w 11460164"/>
              <a:gd name="connsiteY2" fmla="*/ 185682 h 4484800"/>
              <a:gd name="connsiteX3" fmla="*/ 11460164 w 11460164"/>
              <a:gd name="connsiteY3" fmla="*/ 456183 h 4484800"/>
              <a:gd name="connsiteX4" fmla="*/ 11460164 w 11460164"/>
              <a:gd name="connsiteY4" fmla="*/ 715601 h 4484800"/>
              <a:gd name="connsiteX5" fmla="*/ 11460164 w 11460164"/>
              <a:gd name="connsiteY5" fmla="*/ 4299118 h 4484800"/>
              <a:gd name="connsiteX6" fmla="*/ 11274482 w 11460164"/>
              <a:gd name="connsiteY6" fmla="*/ 4484800 h 4484800"/>
              <a:gd name="connsiteX7" fmla="*/ 185682 w 11460164"/>
              <a:gd name="connsiteY7" fmla="*/ 4484800 h 4484800"/>
              <a:gd name="connsiteX8" fmla="*/ 0 w 11460164"/>
              <a:gd name="connsiteY8" fmla="*/ 4299118 h 4484800"/>
              <a:gd name="connsiteX9" fmla="*/ 0 w 11460164"/>
              <a:gd name="connsiteY9" fmla="*/ 715601 h 4484800"/>
              <a:gd name="connsiteX10" fmla="*/ 0 w 11460164"/>
              <a:gd name="connsiteY10" fmla="*/ 456183 h 4484800"/>
              <a:gd name="connsiteX11" fmla="*/ 0 w 11460164"/>
              <a:gd name="connsiteY11" fmla="*/ 185682 h 4484800"/>
              <a:gd name="connsiteX12" fmla="*/ 185682 w 11460164"/>
              <a:gd name="connsiteY12" fmla="*/ 0 h 44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460164" h="4484800">
                <a:moveTo>
                  <a:pt x="185682" y="0"/>
                </a:moveTo>
                <a:lnTo>
                  <a:pt x="11274482" y="0"/>
                </a:lnTo>
                <a:cubicBezTo>
                  <a:pt x="11377031" y="0"/>
                  <a:pt x="11460164" y="83133"/>
                  <a:pt x="11460164" y="185682"/>
                </a:cubicBezTo>
                <a:lnTo>
                  <a:pt x="11460164" y="456183"/>
                </a:lnTo>
                <a:lnTo>
                  <a:pt x="11460164" y="715601"/>
                </a:lnTo>
                <a:lnTo>
                  <a:pt x="11460164" y="4299118"/>
                </a:lnTo>
                <a:cubicBezTo>
                  <a:pt x="11460164" y="4401667"/>
                  <a:pt x="11377031" y="4484800"/>
                  <a:pt x="11274482" y="4484800"/>
                </a:cubicBezTo>
                <a:lnTo>
                  <a:pt x="185682" y="4484800"/>
                </a:lnTo>
                <a:cubicBezTo>
                  <a:pt x="83133" y="4484800"/>
                  <a:pt x="0" y="4401667"/>
                  <a:pt x="0" y="4299118"/>
                </a:cubicBezTo>
                <a:lnTo>
                  <a:pt x="0" y="715601"/>
                </a:lnTo>
                <a:lnTo>
                  <a:pt x="0" y="456183"/>
                </a:lnTo>
                <a:lnTo>
                  <a:pt x="0" y="185682"/>
                </a:lnTo>
                <a:cubicBezTo>
                  <a:pt x="0" y="83133"/>
                  <a:pt x="83133" y="0"/>
                  <a:pt x="18568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t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outside of grey holder please reduce the size of the font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B731B-8FAA-4A1B-8740-D7002967C1C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C84BE9-25CA-45B1-9061-9DCABA70A1E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0296A1-E119-4AEC-80A5-65FD719F963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8C0D48C-007D-FEEC-D1DF-C00891876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F6E4BF1-5B10-6CC3-60CB-FA773CAB8A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99DCD39-6F77-D442-9C41-7FE9A4CBB7F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40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3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151742-951B-4B8B-93F8-F6814A0074E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7F4CD0-83C1-4C99-A2BD-6DA4A1CC9D00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4920F6-7DEA-40DB-B124-F0789E56046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DB722-CBB2-49EC-937E-10206DEB6BD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4E53DDB-FDB6-66D3-FC50-5426FF978D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5125" y="1303338"/>
            <a:ext cx="11460163" cy="44894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 </a:t>
            </a:r>
            <a:br>
              <a:rPr lang="en-US" dirty="0"/>
            </a:br>
            <a:r>
              <a:rPr lang="en-US" dirty="0"/>
              <a:t>If text content appears too large please reduce the size of this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A7A86B9-637F-F18A-3604-5A44F7C44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A89E078-B97D-529E-FF83-DF5AD69D51F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2D601A5-6CEE-D258-CCEB-85D1BB27BD87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7225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65456" y="1303338"/>
            <a:ext cx="11460701" cy="399600"/>
          </a:xfrm>
          <a:prstGeom prst="rect">
            <a:avLst/>
          </a:prstGeom>
        </p:spPr>
        <p:txBody>
          <a:bodyPr lIns="0" tIns="72000" rIns="0" bIns="7200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361942" indent="0">
              <a:buNone/>
              <a:defRPr/>
            </a:lvl2pPr>
            <a:lvl3pPr marL="711182" indent="0">
              <a:buNone/>
              <a:defRPr/>
            </a:lvl3pPr>
            <a:lvl4pPr marL="1087939" indent="0">
              <a:buNone/>
              <a:defRPr/>
            </a:lvl4pPr>
            <a:lvl5pPr marL="1473163" indent="0">
              <a:buNone/>
              <a:defRPr/>
            </a:lvl5pPr>
          </a:lstStyle>
          <a:p>
            <a:pPr lvl="0"/>
            <a:r>
              <a:rPr lang="en-GB" dirty="0"/>
              <a:t>Click to enter subheading text 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65125" y="5792438"/>
            <a:ext cx="11460164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 dirty="0"/>
              <a:t>Insert Source text 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475D1F-3C7D-443F-9C73-9160E439AE1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C36D2BF-D8B1-4705-ABD7-209D78E9EBFF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10FAE2-40C5-48E8-A896-0682681B6AC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AF230C5-C173-4CDF-8F46-DDF8D7240B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E07AE8-19F2-04D9-93C9-C4F2357C2A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1702938"/>
            <a:ext cx="11460163" cy="4089850"/>
          </a:xfrm>
        </p:spPr>
        <p:txBody>
          <a:bodyPr lIns="0" tIns="180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4BDB392-CCE1-B2F2-5843-4AF9AE7D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9D93444-D1FE-4C3C-7B81-D2693144C1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45A9796-316D-7A43-F981-F6A071B72BBE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123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152BBA-B0F3-390F-177B-A659A0DA6D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72451" y="1303338"/>
            <a:ext cx="3652838" cy="4477804"/>
          </a:xfrm>
          <a:prstGeom prst="roundRect">
            <a:avLst>
              <a:gd name="adj" fmla="val 45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TEXT content ONLY. </a:t>
            </a:r>
            <a:br>
              <a:rPr lang="en-US" dirty="0"/>
            </a:br>
            <a:r>
              <a:rPr lang="en-US" dirty="0"/>
              <a:t>If text content appears outside of the grey placeholder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172451" y="5791943"/>
            <a:ext cx="3652837" cy="298800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1A55F3-CAC9-450A-8B8C-0D0326082407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39AF67FF-E09E-42E7-8CF4-0C88178FECBB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A6F4AF4-B7CB-44A2-A774-A5EE13FDE7C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A690446-B95A-4BA4-8B97-68649C262B1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5791943"/>
            <a:ext cx="7554913" cy="299295"/>
          </a:xfrm>
          <a:prstGeom prst="rect">
            <a:avLst/>
          </a:prstGeom>
        </p:spPr>
        <p:txBody>
          <a:bodyPr wrap="square" lIns="0" tIns="72000" rIns="0" bIns="7200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 baseline="0"/>
            </a:lvl1pPr>
            <a:lvl2pPr marL="357542" indent="0">
              <a:buNone/>
              <a:defRPr sz="1067"/>
            </a:lvl2pPr>
            <a:lvl3pPr marL="719982" indent="0">
              <a:buNone/>
              <a:defRPr sz="1067"/>
            </a:lvl3pPr>
            <a:lvl4pPr marL="1081424" indent="0">
              <a:buNone/>
              <a:defRPr sz="1067"/>
            </a:lvl4pPr>
            <a:lvl5pPr marL="1439964" indent="0">
              <a:buNone/>
              <a:defRPr sz="1067"/>
            </a:lvl5pPr>
          </a:lstStyle>
          <a:p>
            <a:pPr lvl="0"/>
            <a:r>
              <a:rPr lang="en-GB"/>
              <a:t>Insert Source text he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643D66-CBAC-8A3C-D941-445E2D7EFC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5125" y="1303338"/>
            <a:ext cx="7554913" cy="4478337"/>
          </a:xfrm>
        </p:spPr>
        <p:txBody>
          <a:bodyPr lIns="0" tIns="234000" rIns="0" bIns="18000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nter TEXT content ONLY.</a:t>
            </a:r>
            <a:br>
              <a:rPr lang="en-US" dirty="0"/>
            </a:br>
            <a:r>
              <a:rPr lang="en-US" dirty="0"/>
              <a:t>If text content appears too large please reduce the size of the fon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C40724D-5874-C573-BE68-E74D3056C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6DDC75F0-FC33-50C5-4836-14CADF87FA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5125" y="694950"/>
            <a:ext cx="11460164" cy="3528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i="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nter slide subtit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ED293B4-51DD-6A15-3268-DC88E0FC951D}"/>
              </a:ext>
            </a:extLst>
          </p:cNvPr>
          <p:cNvSpPr/>
          <p:nvPr userDrawn="1"/>
        </p:nvSpPr>
        <p:spPr>
          <a:xfrm>
            <a:off x="0" y="184645"/>
            <a:ext cx="264043" cy="559397"/>
          </a:xfrm>
          <a:custGeom>
            <a:avLst/>
            <a:gdLst>
              <a:gd name="connsiteX0" fmla="*/ 0 w 857257"/>
              <a:gd name="connsiteY0" fmla="*/ 0 h 1816170"/>
              <a:gd name="connsiteX1" fmla="*/ 841477 w 857257"/>
              <a:gd name="connsiteY1" fmla="*/ 890550 h 1816170"/>
              <a:gd name="connsiteX2" fmla="*/ 841477 w 857257"/>
              <a:gd name="connsiteY2" fmla="*/ 925611 h 1816170"/>
              <a:gd name="connsiteX3" fmla="*/ 0 w 857257"/>
              <a:gd name="connsiteY3" fmla="*/ 1816170 h 1816170"/>
              <a:gd name="connsiteX4" fmla="*/ 0 w 857257"/>
              <a:gd name="connsiteY4" fmla="*/ 0 h 1816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7257" h="1816170">
                <a:moveTo>
                  <a:pt x="0" y="0"/>
                </a:moveTo>
                <a:cubicBezTo>
                  <a:pt x="0" y="462811"/>
                  <a:pt x="301523" y="743293"/>
                  <a:pt x="841477" y="890550"/>
                </a:cubicBezTo>
                <a:cubicBezTo>
                  <a:pt x="862517" y="897560"/>
                  <a:pt x="862517" y="918601"/>
                  <a:pt x="841477" y="925611"/>
                </a:cubicBezTo>
                <a:cubicBezTo>
                  <a:pt x="301523" y="1072868"/>
                  <a:pt x="0" y="1353360"/>
                  <a:pt x="0" y="181617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605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19338" y="6343650"/>
            <a:ext cx="5600700" cy="2698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85288" y="6343650"/>
            <a:ext cx="540000" cy="2698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GB" dirty="0"/>
              <a:t>Click to enter slide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8172450" y="6343650"/>
            <a:ext cx="2776537" cy="269875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346B58B4-0D72-4C8B-9355-854FB5782278}" type="datetime4">
              <a:rPr lang="en-GB" smtClean="0"/>
              <a:t>12 April 2024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BC2AD35-7761-4742-BEF1-3D0CAD2E1D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5125" y="1303338"/>
            <a:ext cx="11460163" cy="4787899"/>
          </a:xfrm>
          <a:prstGeom prst="rect">
            <a:avLst/>
          </a:prstGeom>
        </p:spPr>
        <p:txBody>
          <a:bodyPr vert="horz" lIns="180000" tIns="180000" rIns="180000" bIns="180000" rtlCol="0">
            <a:normAutofit/>
          </a:bodyPr>
          <a:lstStyle/>
          <a:p>
            <a:pPr lvl="0"/>
            <a:r>
              <a:rPr lang="en-GB" dirty="0"/>
              <a:t>Click to enter text content.</a:t>
            </a:r>
            <a:br>
              <a:rPr lang="en-GB" dirty="0"/>
            </a:br>
            <a:r>
              <a:rPr lang="en-GB" dirty="0"/>
              <a:t>To increase bullet level, select your text &gt; press ‘Tab’.</a:t>
            </a:r>
            <a:br>
              <a:rPr lang="en-GB" dirty="0"/>
            </a:br>
            <a:r>
              <a:rPr lang="en-GB" dirty="0"/>
              <a:t>To decrease bullet level, select your text &gt; press ‘Shift’ + ‘Tab’.</a:t>
            </a:r>
            <a:br>
              <a:rPr lang="en-GB" dirty="0"/>
            </a:br>
            <a:r>
              <a:rPr lang="en-GB" dirty="0"/>
              <a:t>To remove bullet levels, select your text &gt; right click &gt; press ‘bullets’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  <a:p>
            <a:pPr lvl="4"/>
            <a:endParaRPr lang="en-GB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B7C2D6E-A9EC-414F-8A58-3207DA98D6C5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76239" y="6354213"/>
            <a:ext cx="820737" cy="24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75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82" r:id="rId3"/>
    <p:sldLayoutId id="2147483785" r:id="rId4"/>
    <p:sldLayoutId id="2147483787" r:id="rId5"/>
    <p:sldLayoutId id="2147483663" r:id="rId6"/>
    <p:sldLayoutId id="2147483664" r:id="rId7"/>
    <p:sldLayoutId id="2147483665" r:id="rId8"/>
    <p:sldLayoutId id="2147483668" r:id="rId9"/>
    <p:sldLayoutId id="2147483786" r:id="rId10"/>
    <p:sldLayoutId id="2147483669" r:id="rId11"/>
    <p:sldLayoutId id="2147483670" r:id="rId12"/>
    <p:sldLayoutId id="2147483671" r:id="rId13"/>
    <p:sldLayoutId id="2147483728" r:id="rId14"/>
    <p:sldLayoutId id="2147483730" r:id="rId15"/>
    <p:sldLayoutId id="2147483765" r:id="rId16"/>
    <p:sldLayoutId id="2147483773" r:id="rId17"/>
    <p:sldLayoutId id="2147483774" r:id="rId18"/>
    <p:sldLayoutId id="2147483766" r:id="rId19"/>
    <p:sldLayoutId id="2147483673" r:id="rId20"/>
    <p:sldLayoutId id="2147483771" r:id="rId21"/>
    <p:sldLayoutId id="2147483768" r:id="rId22"/>
    <p:sldLayoutId id="2147483767" r:id="rId23"/>
    <p:sldLayoutId id="2147483776" r:id="rId24"/>
    <p:sldLayoutId id="2147483763" r:id="rId25"/>
    <p:sldLayoutId id="2147483675" r:id="rId26"/>
    <p:sldLayoutId id="2147483777" r:id="rId27"/>
    <p:sldLayoutId id="2147483778" r:id="rId28"/>
    <p:sldLayoutId id="2147483762" r:id="rId29"/>
    <p:sldLayoutId id="214748376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121917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9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753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141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159946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0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59931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9922" indent="-359991" algn="l" defTabSz="1219170" rtl="0" eaLnBrk="1" latinLnBrk="0" hangingPunct="1"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A6A6A6"/>
          </p15:clr>
        </p15:guide>
        <p15:guide id="2" pos="7680" userDrawn="1">
          <p15:clr>
            <a:srgbClr val="A6A6A6"/>
          </p15:clr>
        </p15:guide>
        <p15:guide id="3" pos="230" userDrawn="1">
          <p15:clr>
            <a:srgbClr val="A6A6A6"/>
          </p15:clr>
        </p15:guide>
        <p15:guide id="4" pos="1301" userDrawn="1">
          <p15:clr>
            <a:srgbClr val="A6A6A6"/>
          </p15:clr>
        </p15:guide>
        <p15:guide id="5" pos="1461" userDrawn="1">
          <p15:clr>
            <a:srgbClr val="A6A6A6"/>
          </p15:clr>
        </p15:guide>
        <p15:guide id="6" pos="2531" userDrawn="1">
          <p15:clr>
            <a:srgbClr val="A6A6A6"/>
          </p15:clr>
        </p15:guide>
        <p15:guide id="7" pos="2690" userDrawn="1">
          <p15:clr>
            <a:srgbClr val="A6A6A6"/>
          </p15:clr>
        </p15:guide>
        <p15:guide id="8" pos="3759" userDrawn="1">
          <p15:clr>
            <a:srgbClr val="A6A6A6"/>
          </p15:clr>
        </p15:guide>
        <p15:guide id="9" pos="3920" userDrawn="1">
          <p15:clr>
            <a:srgbClr val="A6A6A6"/>
          </p15:clr>
        </p15:guide>
        <p15:guide id="10" pos="4989" userDrawn="1">
          <p15:clr>
            <a:srgbClr val="A6A6A6"/>
          </p15:clr>
        </p15:guide>
        <p15:guide id="11" pos="5148" userDrawn="1">
          <p15:clr>
            <a:srgbClr val="A6A6A6"/>
          </p15:clr>
        </p15:guide>
        <p15:guide id="12" pos="6218" userDrawn="1">
          <p15:clr>
            <a:srgbClr val="A6A6A6"/>
          </p15:clr>
        </p15:guide>
        <p15:guide id="13" pos="6378" userDrawn="1">
          <p15:clr>
            <a:srgbClr val="A6A6A6"/>
          </p15:clr>
        </p15:guide>
        <p15:guide id="14" pos="7449" userDrawn="1">
          <p15:clr>
            <a:srgbClr val="A6A6A6"/>
          </p15:clr>
        </p15:guide>
        <p15:guide id="15" orient="horz" userDrawn="1">
          <p15:clr>
            <a:srgbClr val="A6A6A6"/>
          </p15:clr>
        </p15:guide>
        <p15:guide id="16" orient="horz" pos="4315" userDrawn="1">
          <p15:clr>
            <a:srgbClr val="A6A6A6"/>
          </p15:clr>
        </p15:guide>
        <p15:guide id="17" orient="horz" pos="153" userDrawn="1">
          <p15:clr>
            <a:srgbClr val="A6A6A6"/>
          </p15:clr>
        </p15:guide>
        <p15:guide id="18" orient="horz" pos="686" userDrawn="1">
          <p15:clr>
            <a:srgbClr val="A6A6A6"/>
          </p15:clr>
        </p15:guide>
        <p15:guide id="19" orient="horz" pos="821" userDrawn="1">
          <p15:clr>
            <a:srgbClr val="A6A6A6"/>
          </p15:clr>
        </p15:guide>
        <p15:guide id="20" orient="horz" pos="1323" userDrawn="1">
          <p15:clr>
            <a:srgbClr val="A6A6A6"/>
          </p15:clr>
        </p15:guide>
        <p15:guide id="21" orient="horz" pos="2330" userDrawn="1">
          <p15:clr>
            <a:srgbClr val="A6A6A6"/>
          </p15:clr>
        </p15:guide>
        <p15:guide id="22" orient="horz" pos="3335" userDrawn="1">
          <p15:clr>
            <a:srgbClr val="A6A6A6"/>
          </p15:clr>
        </p15:guide>
        <p15:guide id="23" orient="horz" pos="3837" userDrawn="1">
          <p15:clr>
            <a:srgbClr val="A6A6A6"/>
          </p15:clr>
        </p15:guide>
        <p15:guide id="24" orient="horz" pos="4166" userDrawn="1">
          <p15:clr>
            <a:srgbClr val="A6A6A6"/>
          </p15:clr>
        </p15:guide>
        <p15:guide id="25" orient="horz" pos="1827" userDrawn="1">
          <p15:clr>
            <a:srgbClr val="A4A3A4"/>
          </p15:clr>
        </p15:guide>
        <p15:guide id="26" orient="horz" pos="2832" userDrawn="1">
          <p15:clr>
            <a:srgbClr val="A4A3A4"/>
          </p15:clr>
        </p15:guide>
        <p15:guide id="27" orient="horz" pos="3996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2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9.jpe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8.jpeg"/><Relationship Id="rId4" Type="http://schemas.openxmlformats.org/officeDocument/2006/relationships/diagramLayout" Target="../diagrams/layout2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4D6CAE-2D82-65F4-A235-7BA68290EC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4D6CAE-2D82-65F4-A235-7BA68290E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733A37B-02D0-8890-CFD2-49C17F16C6C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en-GB" dirty="0"/>
              <a:t>Apprenticeships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E23B74-EBA6-E3E1-4E30-B2A18106C6E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J Wheatl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F42EE0-5C3F-AA55-7540-6D5361F1B1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72642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29B26D2-D543-6D7D-669E-051D2BE9A69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223000" y="1303338"/>
            <a:ext cx="3692787" cy="4488605"/>
          </a:xfrm>
        </p:spPr>
        <p:txBody>
          <a:bodyPr/>
          <a:lstStyle/>
          <a:p>
            <a:r>
              <a:rPr lang="en-GB" dirty="0"/>
              <a:t>Started September 2019 </a:t>
            </a:r>
          </a:p>
          <a:p>
            <a:r>
              <a:rPr lang="en-GB" dirty="0"/>
              <a:t>Business and Supply Chain Apprentice</a:t>
            </a:r>
          </a:p>
          <a:p>
            <a:r>
              <a:rPr lang="en-GB" dirty="0"/>
              <a:t>BSc Hons – Professional Practice in Supply Chain Leadership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64589DD-5668-2CBC-F912-67FED443844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65125" y="1378839"/>
            <a:ext cx="3376365" cy="4488605"/>
          </a:xfrm>
        </p:spPr>
        <p:txBody>
          <a:bodyPr/>
          <a:lstStyle/>
          <a:p>
            <a:r>
              <a:rPr lang="en-GB" dirty="0"/>
              <a:t>Joined in 2012 and left in 2019!</a:t>
            </a:r>
          </a:p>
          <a:p>
            <a:r>
              <a:rPr lang="en-GB" dirty="0"/>
              <a:t>Studied Maths Economics and Sociology (A-Level)</a:t>
            </a:r>
          </a:p>
          <a:p>
            <a:r>
              <a:rPr lang="en-GB" dirty="0"/>
              <a:t>Played as much football as possible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24E6CA4-5E71-03AA-EAF9-9966899F0BF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CB418E-9C5A-4675-10D1-357EED6160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9320D8-5C73-904E-738D-D896CA2D96D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75AD5C3B-4928-4130-B83B-B165A0D4A5A9}" type="datetime4">
              <a:rPr lang="en-GB" smtClean="0"/>
              <a:pPr/>
              <a:t>12 April 2024</a:t>
            </a:fld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73FB8-A4CC-0AA2-F427-AE329DACD1F0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AA1D274-D404-AFEB-2917-367D0099B89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532525" y="1454538"/>
            <a:ext cx="5266800" cy="516875"/>
          </a:xfrm>
        </p:spPr>
        <p:txBody>
          <a:bodyPr/>
          <a:lstStyle/>
          <a:p>
            <a:r>
              <a:rPr lang="en-GB" dirty="0"/>
              <a:t>NHG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E4E67A3-4B1D-F7F6-55BA-3A3B0025A365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6391644" y="1454538"/>
            <a:ext cx="5265000" cy="516875"/>
          </a:xfrm>
        </p:spPr>
        <p:txBody>
          <a:bodyPr/>
          <a:lstStyle/>
          <a:p>
            <a:r>
              <a:rPr lang="en-GB" dirty="0"/>
              <a:t>GS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E3D0AE4-B495-1AA3-32FE-550C26E0A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am I?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C29D44D-BC4A-3AA3-D87F-32DFA4DE01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Former NHGS Student and </a:t>
            </a:r>
            <a:r>
              <a:rPr lang="en-GB"/>
              <a:t>GSK Apprentice</a:t>
            </a:r>
            <a:endParaRPr lang="en-GB" dirty="0"/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1DC8973D-AF8D-34C0-53E7-36C3368013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0586" r="-590" b="22944"/>
          <a:stretch/>
        </p:blipFill>
        <p:spPr bwMode="auto">
          <a:xfrm>
            <a:off x="3734203" y="1971414"/>
            <a:ext cx="2482122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2F95276-042E-F977-F2D5-575E3909AD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0" y="1971413"/>
            <a:ext cx="228600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427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2FEBCA-4D70-0626-919A-2C266A62C90C}"/>
              </a:ext>
            </a:extLst>
          </p:cNvPr>
          <p:cNvSpPr>
            <a:spLocks noGrp="1"/>
          </p:cNvSpPr>
          <p:nvPr>
            <p:ph type="dt" sz="half" idx="30"/>
          </p:nvPr>
        </p:nvSpPr>
        <p:spPr>
          <a:xfrm>
            <a:off x="8172450" y="6343650"/>
            <a:ext cx="2776537" cy="26987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45019526-2E1B-43DA-A982-0E3EBC0E7D56}" type="datetime4">
              <a:rPr lang="en-GB" smtClean="0"/>
              <a:pPr>
                <a:spcAft>
                  <a:spcPts val="600"/>
                </a:spcAft>
              </a:pPr>
              <a:t>12 April 2024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890B8-FFB5-AC91-D596-50BC3DE715E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11285288" y="6343650"/>
            <a:ext cx="540000" cy="26987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F9F533D-B52E-4A2F-BF72-0ADD2D94BD75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4732DAB-EBF7-F7CF-2FC8-EA17E76280B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125" y="5792400"/>
            <a:ext cx="11460163" cy="298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9B82B33-DBED-9DA5-01FF-BDD283F6D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5" y="242888"/>
            <a:ext cx="11460163" cy="430887"/>
          </a:xfrm>
        </p:spPr>
        <p:txBody>
          <a:bodyPr anchor="b">
            <a:normAutofit/>
          </a:bodyPr>
          <a:lstStyle/>
          <a:p>
            <a:r>
              <a:rPr lang="en-GB" dirty="0"/>
              <a:t>Why I chose an apprenticeship at GSK</a:t>
            </a:r>
          </a:p>
        </p:txBody>
      </p:sp>
      <p:sp>
        <p:nvSpPr>
          <p:cNvPr id="17" name="Subtitle 6">
            <a:extLst>
              <a:ext uri="{FF2B5EF4-FFF2-40B4-BE49-F238E27FC236}">
                <a16:creationId xmlns:a16="http://schemas.microsoft.com/office/drawing/2014/main" id="{B8454266-B205-0526-2666-6327542007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694950"/>
            <a:ext cx="11460164" cy="3528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11" name="Text Placeholder 8">
            <a:extLst>
              <a:ext uri="{FF2B5EF4-FFF2-40B4-BE49-F238E27FC236}">
                <a16:creationId xmlns:a16="http://schemas.microsoft.com/office/drawing/2014/main" id="{417EFE8A-CF6B-4B21-A7E7-058B46FA35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9513093"/>
              </p:ext>
            </p:extLst>
          </p:nvPr>
        </p:nvGraphicFramePr>
        <p:xfrm>
          <a:off x="365119" y="1303338"/>
          <a:ext cx="11459625" cy="4489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53737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CB8D45-8A55-3029-B6C0-8C1274F9697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B124F8D-6A21-41BB-B641-CA493D4F9456}" type="datetime4">
              <a:rPr lang="en-GB" smtClean="0"/>
              <a:pPr/>
              <a:t>12 April 2024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0B8250-A0E0-3EB9-41B0-A6932C49FC2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8822819-3997-707E-DB5C-E85B2E6FCF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as an apprentice</a:t>
            </a: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CA713C6D-1831-4114-92CE-3BDF796AB0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9212485"/>
              </p:ext>
            </p:extLst>
          </p:nvPr>
        </p:nvGraphicFramePr>
        <p:xfrm>
          <a:off x="1513487" y="807998"/>
          <a:ext cx="9163437" cy="1577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52F32BE-0740-499E-9ACD-446A8835F9D4}"/>
              </a:ext>
            </a:extLst>
          </p:cNvPr>
          <p:cNvSpPr txBox="1"/>
          <p:nvPr/>
        </p:nvSpPr>
        <p:spPr>
          <a:xfrm>
            <a:off x="1677798" y="599407"/>
            <a:ext cx="5578679" cy="1834503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r>
              <a:rPr lang="en-GB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ogistics</a:t>
            </a:r>
            <a:r>
              <a:rPr lang="en-GB" sz="1800" b="1" dirty="0">
                <a:solidFill>
                  <a:srgbClr val="FF0000"/>
                </a:solidFill>
              </a:rPr>
              <a:t> </a:t>
            </a:r>
            <a:r>
              <a:rPr lang="en-GB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otation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E5B307-79FB-49FD-A846-3C514D024527}"/>
              </a:ext>
            </a:extLst>
          </p:cNvPr>
          <p:cNvSpPr txBox="1"/>
          <p:nvPr/>
        </p:nvSpPr>
        <p:spPr>
          <a:xfrm>
            <a:off x="6246607" y="599407"/>
            <a:ext cx="5578679" cy="1834503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r>
              <a:rPr lang="en-GB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anding Ro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82767E-D675-496C-B310-CF7AED631421}"/>
              </a:ext>
            </a:extLst>
          </p:cNvPr>
          <p:cNvSpPr txBox="1"/>
          <p:nvPr/>
        </p:nvSpPr>
        <p:spPr>
          <a:xfrm>
            <a:off x="365125" y="2206305"/>
            <a:ext cx="3862926" cy="3674378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r>
              <a:rPr lang="en-GB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pprenticeship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Supply Chain Leadership Degree – University of Hull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Careers Fairs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Resilience, Outward Bound and Fieri events.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SLT Job Swap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CTC group – Sustainability event/ National Apprenticeship week activities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+mj-ea"/>
                <a:cs typeface="+mj-cs"/>
              </a:rPr>
              <a:t>Charity and Community events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C8916C-A339-4538-8F56-55F9FF20CE5F}"/>
              </a:ext>
            </a:extLst>
          </p:cNvPr>
          <p:cNvSpPr txBox="1"/>
          <p:nvPr/>
        </p:nvSpPr>
        <p:spPr>
          <a:xfrm>
            <a:off x="8330622" y="2192575"/>
            <a:ext cx="3862926" cy="3674378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rm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r>
              <a:rPr lang="en-GB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velopment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Confidence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Presenting/running meetings 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Teamwork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Time management 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Organisation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Accountability</a:t>
            </a: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endParaRPr lang="en-GB" sz="1700" dirty="0">
              <a:latin typeface="+mj-lt"/>
              <a:ea typeface="+mj-ea"/>
              <a:cs typeface="+mj-cs"/>
            </a:endParaRP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ea typeface="+mj-ea"/>
                <a:cs typeface="+mj-cs"/>
              </a:rPr>
              <a:t>Living!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endParaRPr lang="en-GB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endParaRPr lang="en-GB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endParaRPr lang="en-GB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</a:pPr>
            <a:endParaRPr lang="en-GB" sz="2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342900" indent="-342900" algn="l"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50000"/>
              <a:buFont typeface="Arial" panose="020B0604020202020204" pitchFamily="34" charset="0"/>
              <a:buChar char="•"/>
            </a:pPr>
            <a:endParaRPr lang="en-GB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23" name="AutoShape 4" descr="Profile picture of 3rd Year Apprentices.">
            <a:extLst>
              <a:ext uri="{FF2B5EF4-FFF2-40B4-BE49-F238E27FC236}">
                <a16:creationId xmlns:a16="http://schemas.microsoft.com/office/drawing/2014/main" id="{2C5F5AAD-BB2C-4E35-8EC9-8753D7C9C44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" name="Picture 1" descr="A picture containing text, person, indoor, office&#10;&#10;Description automatically generated">
            <a:extLst>
              <a:ext uri="{FF2B5EF4-FFF2-40B4-BE49-F238E27FC236}">
                <a16:creationId xmlns:a16="http://schemas.microsoft.com/office/drawing/2014/main" id="{212483E7-541C-4412-9323-7D1B63396EC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583" y="2412508"/>
            <a:ext cx="2102842" cy="1577131"/>
          </a:xfrm>
          <a:prstGeom prst="rect">
            <a:avLst/>
          </a:prstGeom>
        </p:spPr>
      </p:pic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3C63761-D434-41CC-BCB4-1A63707B9BA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051" y="2412508"/>
            <a:ext cx="2087377" cy="15559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6BB7A7E-A6C3-4736-9CE0-694A579D9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051" y="3978297"/>
            <a:ext cx="2102842" cy="1577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903D0AC-941B-434E-8DC3-3A66895F2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893" y="3978297"/>
            <a:ext cx="2096833" cy="1577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9FD3E4-936D-45D5-9E56-E68819EC3D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8105" y="3459385"/>
            <a:ext cx="2311627" cy="1037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3541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8" descr="Drawings on colourful paper">
            <a:extLst>
              <a:ext uri="{FF2B5EF4-FFF2-40B4-BE49-F238E27FC236}">
                <a16:creationId xmlns:a16="http://schemas.microsoft.com/office/drawing/2014/main" id="{52569D45-D064-2DF0-F3E3-FED38AA36A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772" b="1"/>
          <a:stretch/>
        </p:blipFill>
        <p:spPr>
          <a:xfrm>
            <a:off x="4270375" y="242888"/>
            <a:ext cx="7554914" cy="5848312"/>
          </a:xfrm>
          <a:custGeom>
            <a:avLst/>
            <a:gdLst>
              <a:gd name="connsiteX0" fmla="*/ 2145019 w 7554914"/>
              <a:gd name="connsiteY0" fmla="*/ 0 h 5848312"/>
              <a:gd name="connsiteX1" fmla="*/ 7370751 w 7554914"/>
              <a:gd name="connsiteY1" fmla="*/ 0 h 5848312"/>
              <a:gd name="connsiteX2" fmla="*/ 7554914 w 7554914"/>
              <a:gd name="connsiteY2" fmla="*/ 184163 h 5848312"/>
              <a:gd name="connsiteX3" fmla="*/ 7554914 w 7554914"/>
              <a:gd name="connsiteY3" fmla="*/ 5664149 h 5848312"/>
              <a:gd name="connsiteX4" fmla="*/ 7370751 w 7554914"/>
              <a:gd name="connsiteY4" fmla="*/ 5848312 h 5848312"/>
              <a:gd name="connsiteX5" fmla="*/ 184163 w 7554914"/>
              <a:gd name="connsiteY5" fmla="*/ 5848312 h 5848312"/>
              <a:gd name="connsiteX6" fmla="*/ 0 w 7554914"/>
              <a:gd name="connsiteY6" fmla="*/ 5664149 h 5848312"/>
              <a:gd name="connsiteX7" fmla="*/ 0 w 7554914"/>
              <a:gd name="connsiteY7" fmla="*/ 2161063 h 5848312"/>
              <a:gd name="connsiteX8" fmla="*/ 38324 w 7554914"/>
              <a:gd name="connsiteY8" fmla="*/ 2036037 h 5848312"/>
              <a:gd name="connsiteX9" fmla="*/ 1172960 w 7554914"/>
              <a:gd name="connsiteY9" fmla="*/ 1360305 h 5848312"/>
              <a:gd name="connsiteX10" fmla="*/ 1236325 w 7554914"/>
              <a:gd name="connsiteY10" fmla="*/ 1296939 h 5848312"/>
              <a:gd name="connsiteX11" fmla="*/ 1236325 w 7554914"/>
              <a:gd name="connsiteY11" fmla="*/ 927309 h 5848312"/>
              <a:gd name="connsiteX12" fmla="*/ 1977178 w 7554914"/>
              <a:gd name="connsiteY12" fmla="*/ 16657 h 584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554914" h="5848312">
                <a:moveTo>
                  <a:pt x="2145019" y="0"/>
                </a:moveTo>
                <a:lnTo>
                  <a:pt x="7370751" y="0"/>
                </a:lnTo>
                <a:cubicBezTo>
                  <a:pt x="7472461" y="0"/>
                  <a:pt x="7554914" y="82453"/>
                  <a:pt x="7554914" y="184163"/>
                </a:cubicBezTo>
                <a:lnTo>
                  <a:pt x="7554914" y="5664149"/>
                </a:lnTo>
                <a:cubicBezTo>
                  <a:pt x="7554914" y="5765859"/>
                  <a:pt x="7472461" y="5848312"/>
                  <a:pt x="7370751" y="5848312"/>
                </a:cubicBezTo>
                <a:lnTo>
                  <a:pt x="184163" y="5848312"/>
                </a:lnTo>
                <a:cubicBezTo>
                  <a:pt x="82453" y="5848312"/>
                  <a:pt x="0" y="5765859"/>
                  <a:pt x="0" y="5664149"/>
                </a:cubicBezTo>
                <a:lnTo>
                  <a:pt x="0" y="2161063"/>
                </a:lnTo>
                <a:lnTo>
                  <a:pt x="38324" y="2036037"/>
                </a:lnTo>
                <a:cubicBezTo>
                  <a:pt x="232381" y="1588024"/>
                  <a:pt x="681881" y="1376146"/>
                  <a:pt x="1172960" y="1360305"/>
                </a:cubicBezTo>
                <a:cubicBezTo>
                  <a:pt x="1215204" y="1360305"/>
                  <a:pt x="1236325" y="1328624"/>
                  <a:pt x="1236325" y="1296939"/>
                </a:cubicBezTo>
                <a:lnTo>
                  <a:pt x="1236325" y="927309"/>
                </a:lnTo>
                <a:cubicBezTo>
                  <a:pt x="1236325" y="474509"/>
                  <a:pt x="1551669" y="102568"/>
                  <a:pt x="1977178" y="16657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D28BA7CB-BF84-5244-81F7-3CAB471E13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5126" y="1304101"/>
            <a:ext cx="3652839" cy="449073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GB" sz="1700"/>
              <a:t>Understand the different stages of the application process.</a:t>
            </a:r>
          </a:p>
          <a:p>
            <a:pPr>
              <a:lnSpc>
                <a:spcPct val="90000"/>
              </a:lnSpc>
            </a:pPr>
            <a:endParaRPr lang="en-GB" sz="1700"/>
          </a:p>
          <a:p>
            <a:pPr>
              <a:lnSpc>
                <a:spcPct val="90000"/>
              </a:lnSpc>
            </a:pPr>
            <a:r>
              <a:rPr lang="en-GB" sz="1700"/>
              <a:t>Take your time.</a:t>
            </a:r>
          </a:p>
          <a:p>
            <a:pPr>
              <a:lnSpc>
                <a:spcPct val="90000"/>
              </a:lnSpc>
            </a:pPr>
            <a:endParaRPr lang="en-GB" sz="1700"/>
          </a:p>
          <a:p>
            <a:pPr>
              <a:lnSpc>
                <a:spcPct val="90000"/>
              </a:lnSpc>
            </a:pPr>
            <a:r>
              <a:rPr lang="en-GB" sz="1700"/>
              <a:t>Reach out to people to help </a:t>
            </a:r>
          </a:p>
          <a:p>
            <a:pPr>
              <a:lnSpc>
                <a:spcPct val="90000"/>
              </a:lnSpc>
            </a:pPr>
            <a:endParaRPr lang="en-GB" sz="1700"/>
          </a:p>
          <a:p>
            <a:pPr>
              <a:lnSpc>
                <a:spcPct val="90000"/>
              </a:lnSpc>
            </a:pPr>
            <a:r>
              <a:rPr lang="en-GB" sz="1700"/>
              <a:t>Do your research.</a:t>
            </a:r>
          </a:p>
          <a:p>
            <a:pPr>
              <a:lnSpc>
                <a:spcPct val="90000"/>
              </a:lnSpc>
            </a:pPr>
            <a:endParaRPr lang="en-GB" sz="1700"/>
          </a:p>
          <a:p>
            <a:pPr>
              <a:lnSpc>
                <a:spcPct val="90000"/>
              </a:lnSpc>
            </a:pPr>
            <a:r>
              <a:rPr lang="en-GB" sz="1700"/>
              <a:t>Use the process to understand the company you are applying for.</a:t>
            </a:r>
          </a:p>
          <a:p>
            <a:pPr>
              <a:lnSpc>
                <a:spcPct val="90000"/>
              </a:lnSpc>
            </a:pPr>
            <a:endParaRPr lang="en-GB" sz="1700"/>
          </a:p>
          <a:p>
            <a:pPr>
              <a:lnSpc>
                <a:spcPct val="90000"/>
              </a:lnSpc>
            </a:pPr>
            <a:r>
              <a:rPr lang="en-GB" sz="1700"/>
              <a:t>BE YOURSELF!!!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F7CF3A-23E0-2F46-11CB-946BDD5B2817}"/>
              </a:ext>
            </a:extLst>
          </p:cNvPr>
          <p:cNvSpPr>
            <a:spLocks noGrp="1"/>
          </p:cNvSpPr>
          <p:nvPr>
            <p:ph type="dt" sz="half" idx="28"/>
          </p:nvPr>
        </p:nvSpPr>
        <p:spPr>
          <a:xfrm>
            <a:off x="8172450" y="6343650"/>
            <a:ext cx="2776537" cy="26987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397F4CD0-83C1-4C99-A2BD-6DA4A1CC9D00}" type="datetime4">
              <a:rPr lang="en-GB" smtClean="0"/>
              <a:pPr>
                <a:spcAft>
                  <a:spcPts val="600"/>
                </a:spcAft>
              </a:pPr>
              <a:t>12 April 2024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91E447-F108-C42D-601E-9C9BEC65FD3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>
          <a:xfrm>
            <a:off x="11285288" y="6343650"/>
            <a:ext cx="540000" cy="269875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F9F533D-B52E-4A2F-BF72-0ADD2D94BD75}" type="slidenum">
              <a:rPr lang="en-GB" smtClean="0"/>
              <a:pPr>
                <a:spcAft>
                  <a:spcPts val="600"/>
                </a:spcAft>
              </a:pPr>
              <a:t>5</a:t>
            </a:fld>
            <a:endParaRPr lang="en-GB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8CCAFDCC-73B5-2EB1-2A66-162BC9AFC2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5126" y="5792400"/>
            <a:ext cx="3652993" cy="29880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864110-39BC-3947-54EE-91594FF0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6" y="242888"/>
            <a:ext cx="3905250" cy="430887"/>
          </a:xfrm>
        </p:spPr>
        <p:txBody>
          <a:bodyPr anchor="b">
            <a:normAutofit/>
          </a:bodyPr>
          <a:lstStyle/>
          <a:p>
            <a:r>
              <a:rPr lang="en-GB" dirty="0"/>
              <a:t>Applications</a:t>
            </a:r>
          </a:p>
        </p:txBody>
      </p:sp>
      <p:sp>
        <p:nvSpPr>
          <p:cNvPr id="24" name="Subtitle 7">
            <a:extLst>
              <a:ext uri="{FF2B5EF4-FFF2-40B4-BE49-F238E27FC236}">
                <a16:creationId xmlns:a16="http://schemas.microsoft.com/office/drawing/2014/main" id="{DB9D775E-BA8E-5CE1-EA88-22C22CEE8B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125" y="694950"/>
            <a:ext cx="3905250" cy="352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9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03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GSK " val="DqY5De45"/>
  <p:tag name="ARTICULATE_SLIDE_COUNT" val="3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GSK 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>
          <a:noFill/>
          <a:headEnd/>
          <a:tailEnd/>
        </a:ln>
        <a:effectLst/>
      </a:spPr>
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eaLnBrk="0" fontAlgn="auto" hangingPunct="0">
          <a:spcBef>
            <a:spcPts val="300"/>
          </a:spcBef>
          <a:spcAft>
            <a:spcPts val="300"/>
          </a:spcAft>
          <a:buClr>
            <a:schemeClr val="tx2"/>
          </a:buClr>
          <a:buSzPct val="150000"/>
          <a:buFont typeface="Arial" panose="020B0604020202020204" pitchFamily="34" charset="0"/>
          <a:buChar char="•"/>
          <a:defRPr sz="1600" kern="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0" tIns="180000" rIns="180000" bIns="180000" rtlCol="0">
        <a:normAutofit/>
      </a:bodyPr>
      <a:lstStyle>
        <a:defPPr marL="285750" indent="-285750" algn="l">
          <a:spcBef>
            <a:spcPts val="300"/>
          </a:spcBef>
          <a:spcAft>
            <a:spcPts val="300"/>
          </a:spcAft>
          <a:buClr>
            <a:schemeClr val="tx2"/>
          </a:buClr>
          <a:buSzPct val="150000"/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1" id="{0F9AAB7D-1D41-470D-BDE9-0153B14481CB}" vid="{09603FEC-0634-44A1-BA85-3A41A49EB8CE}"/>
    </a:ext>
  </a:extLst>
</a:theme>
</file>

<file path=ppt/theme/theme2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GSK_Template_2022">
      <a:dk1>
        <a:srgbClr val="000000"/>
      </a:dk1>
      <a:lt1>
        <a:sysClr val="window" lastClr="FFFFFF"/>
      </a:lt1>
      <a:dk2>
        <a:srgbClr val="F36633"/>
      </a:dk2>
      <a:lt2>
        <a:srgbClr val="959595"/>
      </a:lt2>
      <a:accent1>
        <a:srgbClr val="6658A6"/>
      </a:accent1>
      <a:accent2>
        <a:srgbClr val="E21860"/>
      </a:accent2>
      <a:accent3>
        <a:srgbClr val="69B445"/>
      </a:accent3>
      <a:accent4>
        <a:srgbClr val="244EA2"/>
      </a:accent4>
      <a:accent5>
        <a:srgbClr val="FFC709"/>
      </a:accent5>
      <a:accent6>
        <a:srgbClr val="DC4133"/>
      </a:accent6>
      <a:hlink>
        <a:srgbClr val="000000"/>
      </a:hlink>
      <a:folHlink>
        <a:srgbClr val="F0EFED"/>
      </a:folHlink>
    </a:clrScheme>
    <a:fontScheme name="GSK_Template_2022">
      <a:majorFont>
        <a:latin typeface="Arial"/>
        <a:ea typeface=""/>
        <a:cs typeface="Noto Sans"/>
      </a:majorFont>
      <a:minorFont>
        <a:latin typeface="Arial"/>
        <a:ea typeface=""/>
        <a:cs typeface="Noto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FBBF6E9189954BA0FDCD563682A98B" ma:contentTypeVersion="16" ma:contentTypeDescription="Create a new document." ma:contentTypeScope="" ma:versionID="1a4143a5922bdc6b3737ea9818078587">
  <xsd:schema xmlns:xsd="http://www.w3.org/2001/XMLSchema" xmlns:xs="http://www.w3.org/2001/XMLSchema" xmlns:p="http://schemas.microsoft.com/office/2006/metadata/properties" xmlns:ns2="731989eb-7121-409c-871c-8f2366272918" xmlns:ns3="a5bf85ab-5b89-45d5-812d-d881043611a5" targetNamespace="http://schemas.microsoft.com/office/2006/metadata/properties" ma:root="true" ma:fieldsID="d5969143f17593460ff451703e77bfd7" ns2:_="" ns3:_="">
    <xsd:import namespace="731989eb-7121-409c-871c-8f2366272918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989eb-7121-409c-871c-8f23662729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f367377-cea2-4f59-9866-8491a8f07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018993d-1d16-43cf-b63c-2f328976747f}" ma:internalName="TaxCatchAll" ma:showField="CatchAllData" ma:web="a5bf85ab-5b89-45d5-812d-d881043611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										This value indicates the number of saves or revisions. The application is responsible for updating this value after each revision.
									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31989eb-7121-409c-871c-8f2366272918">
      <Terms xmlns="http://schemas.microsoft.com/office/infopath/2007/PartnerControls"/>
    </lcf76f155ced4ddcb4097134ff3c332f>
    <TaxCatchAll xmlns="a5bf85ab-5b89-45d5-812d-d881043611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0F26C6-5C28-44C7-AF1C-6D797356FB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31989eb-7121-409c-871c-8f2366272918"/>
    <ds:schemaRef ds:uri="a5bf85ab-5b89-45d5-812d-d881043611a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7FC8329-C6F9-417B-AFDE-5E22243E6E66}">
  <ds:schemaRefs>
    <ds:schemaRef ds:uri="http://purl.org/dc/elements/1.1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www.w3.org/XML/1998/namespace"/>
    <ds:schemaRef ds:uri="a5bf85ab-5b89-45d5-812d-d881043611a5"/>
    <ds:schemaRef ds:uri="731989eb-7121-409c-871c-8f2366272918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5DA663B-0373-4C8B-B815-9005A7A002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SK_New_PPT_16x9_Template_MAY22_v1</Template>
  <TotalTime>7462</TotalTime>
  <Words>212</Words>
  <Application>Microsoft Office PowerPoint</Application>
  <PresentationFormat>Widescreen</PresentationFormat>
  <Paragraphs>6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Arial</vt:lpstr>
      <vt:lpstr>GSK </vt:lpstr>
      <vt:lpstr>think-cell Slide</vt:lpstr>
      <vt:lpstr>Apprenticeships </vt:lpstr>
      <vt:lpstr>Who am I?</vt:lpstr>
      <vt:lpstr>Why I chose an apprenticeship at GSK</vt:lpstr>
      <vt:lpstr>Life as an apprentice</vt:lpstr>
      <vt:lpstr>Applic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J Wheatly – Business and Supply Chain Apprentice</dc:title>
  <dc:creator>Jonathan Wheatly</dc:creator>
  <cp:lastModifiedBy>Jonathan Wheatly</cp:lastModifiedBy>
  <cp:revision>3</cp:revision>
  <dcterms:created xsi:type="dcterms:W3CDTF">2022-08-22T12:49:06Z</dcterms:created>
  <dcterms:modified xsi:type="dcterms:W3CDTF">2024-04-15T13:1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FBBF6E9189954BA0FDCD563682A98B</vt:lpwstr>
  </property>
  <property fmtid="{D5CDD505-2E9C-101B-9397-08002B2CF9AE}" pid="3" name="MediaServiceImageTags">
    <vt:lpwstr/>
  </property>
  <property fmtid="{D5CDD505-2E9C-101B-9397-08002B2CF9AE}" pid="4" name="ArticulateGUID">
    <vt:lpwstr>15CDE283-B26F-4D28-871F-EAED173C219D</vt:lpwstr>
  </property>
  <property fmtid="{D5CDD505-2E9C-101B-9397-08002B2CF9AE}" pid="5" name="ArticulatePath">
    <vt:lpwstr>Presentation1</vt:lpwstr>
  </property>
  <property fmtid="{D5CDD505-2E9C-101B-9397-08002B2CF9AE}" pid="6" name="MSIP_Label_bea66b2b-af80-48b6-873b-d341d3035cfa_Enabled">
    <vt:lpwstr>true</vt:lpwstr>
  </property>
  <property fmtid="{D5CDD505-2E9C-101B-9397-08002B2CF9AE}" pid="7" name="MSIP_Label_bea66b2b-af80-48b6-873b-d341d3035cfa_SetDate">
    <vt:lpwstr>2024-04-08T14:05:48Z</vt:lpwstr>
  </property>
  <property fmtid="{D5CDD505-2E9C-101B-9397-08002B2CF9AE}" pid="8" name="MSIP_Label_bea66b2b-af80-48b6-873b-d341d3035cfa_Method">
    <vt:lpwstr>Standard</vt:lpwstr>
  </property>
  <property fmtid="{D5CDD505-2E9C-101B-9397-08002B2CF9AE}" pid="9" name="MSIP_Label_bea66b2b-af80-48b6-873b-d341d3035cfa_Name">
    <vt:lpwstr>Proprietary</vt:lpwstr>
  </property>
  <property fmtid="{D5CDD505-2E9C-101B-9397-08002B2CF9AE}" pid="10" name="MSIP_Label_bea66b2b-af80-48b6-873b-d341d3035cfa_SiteId">
    <vt:lpwstr>63982aff-fb6c-4c22-973b-70e4acfb63e6</vt:lpwstr>
  </property>
  <property fmtid="{D5CDD505-2E9C-101B-9397-08002B2CF9AE}" pid="11" name="MSIP_Label_bea66b2b-af80-48b6-873b-d341d3035cfa_ActionId">
    <vt:lpwstr>f6cb378d-6b1d-42f3-bb33-c3c0823e5178</vt:lpwstr>
  </property>
  <property fmtid="{D5CDD505-2E9C-101B-9397-08002B2CF9AE}" pid="12" name="MSIP_Label_bea66b2b-af80-48b6-873b-d341d3035cfa_ContentBits">
    <vt:lpwstr>0</vt:lpwstr>
  </property>
</Properties>
</file>